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712" r:id="rId3"/>
    <p:sldMasterId id="2147483726" r:id="rId4"/>
  </p:sldMasterIdLst>
  <p:notesMasterIdLst>
    <p:notesMasterId r:id="rId16"/>
  </p:notesMasterIdLst>
  <p:sldIdLst>
    <p:sldId id="257" r:id="rId5"/>
    <p:sldId id="268" r:id="rId6"/>
    <p:sldId id="269" r:id="rId7"/>
    <p:sldId id="261" r:id="rId8"/>
    <p:sldId id="258" r:id="rId9"/>
    <p:sldId id="264" r:id="rId10"/>
    <p:sldId id="265" r:id="rId11"/>
    <p:sldId id="266" r:id="rId12"/>
    <p:sldId id="267" r:id="rId13"/>
    <p:sldId id="262" r:id="rId14"/>
    <p:sldId id="263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5A0AC33-24F5-4131-B291-0B8AC35E5184}">
          <p14:sldIdLst>
            <p14:sldId id="257"/>
          </p14:sldIdLst>
        </p14:section>
        <p14:section name="Technical Solution &amp; Systems" id="{EB7667EB-1726-42F0-ADEF-FE873C222689}">
          <p14:sldIdLst>
            <p14:sldId id="268"/>
            <p14:sldId id="269"/>
            <p14:sldId id="261"/>
            <p14:sldId id="258"/>
          </p14:sldIdLst>
        </p14:section>
        <p14:section name="Contact Centre reasons for contact" id="{5AA7BD8E-5A5B-4941-B929-10050820CAB9}">
          <p14:sldIdLst>
            <p14:sldId id="264"/>
            <p14:sldId id="265"/>
            <p14:sldId id="266"/>
            <p14:sldId id="267"/>
          </p14:sldIdLst>
        </p14:section>
        <p14:section name="Customer journey" id="{1D15B62C-06D6-4794-BA71-9AE526E74FF7}">
          <p14:sldIdLst>
            <p14:sldId id="262"/>
            <p14:sldId id="26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482DA"/>
    <a:srgbClr val="A6EE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2" autoAdjust="0"/>
    <p:restoredTop sz="93800" autoAdjust="0"/>
  </p:normalViewPr>
  <p:slideViewPr>
    <p:cSldViewPr snapToGrid="0">
      <p:cViewPr varScale="1">
        <p:scale>
          <a:sx n="59" d="100"/>
          <a:sy n="59" d="100"/>
        </p:scale>
        <p:origin x="8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5E3899-CF7C-419F-85E2-7F65654FD813}" type="datetimeFigureOut">
              <a:rPr lang="en-GB" smtClean="0"/>
              <a:t>09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FBAA6B-0CCE-489F-8333-40339EAE82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8656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Read-write access to linking service? Or just read-only? (Write can opt out bank end (via contact centre), read only can only opt out (via sparks app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Opt out process?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Dates/Timestamps?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Any other data required? :</a:t>
            </a:r>
          </a:p>
          <a:p>
            <a:pPr marL="822325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Digital Rewards Y/N</a:t>
            </a:r>
          </a:p>
          <a:p>
            <a:pPr marL="822325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When they opted in (timestamp)</a:t>
            </a:r>
          </a:p>
          <a:p>
            <a:pPr marL="822325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When they Opted out (timestamp) (having already opted them in)</a:t>
            </a:r>
          </a:p>
          <a:p>
            <a:pPr marL="822325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Customer history</a:t>
            </a:r>
          </a:p>
          <a:p>
            <a:pPr marL="822325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Sparks Account No needed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? (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i.e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 – if customer has opted IN, but links to wrong sparks account so not receiving vouchers)</a:t>
            </a:r>
          </a:p>
          <a:p>
            <a:pPr marL="822325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.COM email address?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– data/security complexity</a:t>
            </a:r>
          </a:p>
          <a:p>
            <a:pPr marL="822325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+Audit trail if need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Escalation route – If contact agent cannot answer the Q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e.g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 – technical issues, service desk? What if Issues with App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etc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Calibri" panose="020F0502020204030204" pitchFamily="34" charset="0"/>
                <a:cs typeface="+mn-cs"/>
              </a:rPr>
              <a:t>Replacement Vouchers;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ＭＳ Ｐゴシック"/>
                <a:cs typeface="+mn-cs"/>
              </a:rPr>
              <a:t>Rewards ( money-off) Can re-issue monetary &gt; next QRM or send a swift with the info on(voucher no, expiry date &amp; value, customer can use instore or online) ???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ＭＳ Ｐゴシック"/>
                <a:cs typeface="+mn-cs"/>
              </a:rPr>
              <a:t>Bonus Offers  - cant replace &gt; good will points adjustment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3307CF-2D9E-4E6B-A3FD-0CCDA8C01AB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5541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arks Hub Is M&amp;S Retail Auth session (dark green) </a:t>
            </a:r>
          </a:p>
          <a:p>
            <a:r>
              <a:rPr lang="en-US" dirty="0"/>
              <a:t>Start linking journey </a:t>
            </a:r>
          </a:p>
          <a:p>
            <a:r>
              <a:rPr lang="en-US" dirty="0"/>
              <a:t>Call OB rails using O-auth </a:t>
            </a:r>
          </a:p>
          <a:p>
            <a:r>
              <a:rPr lang="en-US" dirty="0"/>
              <a:t>Token returned initializes linking in Azure Linking service</a:t>
            </a:r>
          </a:p>
          <a:p>
            <a:endParaRPr lang="en-US" dirty="0"/>
          </a:p>
          <a:p>
            <a:r>
              <a:rPr lang="en-US" dirty="0"/>
              <a:t>This is the best solution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ervice:</a:t>
            </a:r>
          </a:p>
          <a:p>
            <a:r>
              <a:rPr lang="en-US" dirty="0"/>
              <a:t>API surfacing what current linking state is </a:t>
            </a:r>
          </a:p>
          <a:p>
            <a:r>
              <a:rPr lang="en-US" dirty="0"/>
              <a:t>MSB are not holding the flag – only need to be aware of it – flag held </a:t>
            </a:r>
            <a:r>
              <a:rPr lang="en-US" dirty="0" err="1"/>
              <a:t>msb</a:t>
            </a:r>
            <a:endParaRPr lang="en-US" dirty="0"/>
          </a:p>
          <a:p>
            <a:r>
              <a:rPr lang="en-US" dirty="0"/>
              <a:t>Edit capability assumed needed </a:t>
            </a:r>
          </a:p>
          <a:p>
            <a:endParaRPr lang="en-US" dirty="0"/>
          </a:p>
          <a:p>
            <a:r>
              <a:rPr lang="en-US" dirty="0"/>
              <a:t>Budget ca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ave joint account </a:t>
            </a:r>
          </a:p>
          <a:p>
            <a:endParaRPr lang="en-US" dirty="0"/>
          </a:p>
          <a:p>
            <a:r>
              <a:rPr lang="en-US" dirty="0"/>
              <a:t>Club Rewards –</a:t>
            </a:r>
          </a:p>
          <a:p>
            <a:r>
              <a:rPr lang="en-US" dirty="0"/>
              <a:t>What BAU file do we </a:t>
            </a:r>
          </a:p>
          <a:p>
            <a:r>
              <a:rPr lang="en-US" dirty="0"/>
              <a:t>HMW identify that a customer is a club rewards customer (ASAP – where is this currently maintained)</a:t>
            </a:r>
          </a:p>
          <a:p>
            <a:r>
              <a:rPr lang="en-US" dirty="0"/>
              <a:t>Rob V smith </a:t>
            </a:r>
          </a:p>
          <a:p>
            <a:r>
              <a:rPr lang="en-US" dirty="0"/>
              <a:t>Anabel (Chris cover)</a:t>
            </a:r>
          </a:p>
          <a:p>
            <a:endParaRPr lang="en-US" dirty="0"/>
          </a:p>
          <a:p>
            <a:r>
              <a:rPr lang="en-US" dirty="0"/>
              <a:t>OB CERT </a:t>
            </a:r>
          </a:p>
          <a:p>
            <a:r>
              <a:rPr lang="en-US" dirty="0"/>
              <a:t>HMW as MSR become a certified TPP  for OB </a:t>
            </a:r>
          </a:p>
          <a:p>
            <a:endParaRPr lang="en-US" dirty="0"/>
          </a:p>
          <a:p>
            <a:r>
              <a:rPr lang="en-US" dirty="0"/>
              <a:t>Customer Service</a:t>
            </a:r>
          </a:p>
          <a:p>
            <a:r>
              <a:rPr lang="en-US" dirty="0"/>
              <a:t>We are continuing to service on MSB side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0D73C9-D06F-AC4D-AA72-79FE0046DB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6176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7.svg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4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72475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312960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165273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3E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978049" y="6499029"/>
            <a:ext cx="65" cy="14927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81013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60438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41450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20875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780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352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924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496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GB" sz="970" i="0" dirty="0">
              <a:solidFill>
                <a:srgbClr val="A5A6A9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05853" y="1155031"/>
            <a:ext cx="1060383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258699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59657" y="130629"/>
            <a:ext cx="11829143" cy="10740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1349830"/>
            <a:ext cx="12192000" cy="2220686"/>
          </a:xfrm>
          <a:prstGeom prst="rect">
            <a:avLst/>
          </a:prstGeom>
          <a:solidFill>
            <a:schemeClr val="accent6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Next for HSBC Light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58" y="3570515"/>
            <a:ext cx="12190083" cy="3287486"/>
          </a:xfrm>
          <a:prstGeom prst="rect">
            <a:avLst/>
          </a:prstGeom>
          <a:solidFill>
            <a:srgbClr val="19483E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Next for HSBC Light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35429" y="1045030"/>
            <a:ext cx="1127275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04759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ame Slide - White">
    <p:bg>
      <p:bgPr>
        <a:solidFill>
          <a:srgbClr val="F9F9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600735"/>
            <a:ext cx="6095998" cy="89582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7000" b="0" cap="none" baseline="0">
                <a:solidFill>
                  <a:schemeClr val="tx1"/>
                </a:solidFill>
                <a:latin typeface="Better Times" pitchFamily="50" charset="0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35203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tx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E9ABBA35-1D45-4588-921B-A66A6C6A97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803" y="5008638"/>
            <a:ext cx="6095999" cy="402226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2000" b="1" cap="all" baseline="0">
                <a:solidFill>
                  <a:schemeClr val="tx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7087D41A-BC19-4174-B7E8-446013D626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03" y="5369669"/>
            <a:ext cx="6095999" cy="32476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1800" b="0" cap="all" baseline="0">
                <a:solidFill>
                  <a:schemeClr val="tx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52708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- White">
    <p:bg>
      <p:bgPr>
        <a:solidFill>
          <a:srgbClr val="F9F9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508250"/>
            <a:ext cx="6095998" cy="2238758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>
              <a:defRPr lang="en-US" sz="7000" b="0" cap="none" dirty="0">
                <a:latin typeface="Better Times" pitchFamily="50" charset="0"/>
              </a:defRPr>
            </a:lvl1pPr>
          </a:lstStyle>
          <a:p>
            <a:pPr lvl="0">
              <a:lnSpc>
                <a:spcPct val="65000"/>
              </a:lnSpc>
              <a:spcAft>
                <a:spcPts val="0"/>
              </a:spcAft>
            </a:pPr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48030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tx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44896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ame Slide - Heritage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600735"/>
            <a:ext cx="6095998" cy="89582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7000" b="0" cap="none" baseline="0">
                <a:solidFill>
                  <a:schemeClr val="bg1"/>
                </a:solidFill>
                <a:latin typeface="Better Times" pitchFamily="50" charset="0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35203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bg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E9ABBA35-1D45-4588-921B-A66A6C6A97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803" y="5008638"/>
            <a:ext cx="6095999" cy="402226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2000" b="1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7087D41A-BC19-4174-B7E8-446013D626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03" y="5369669"/>
            <a:ext cx="6095999" cy="32476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1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60495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- Heritage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305050"/>
            <a:ext cx="6095998" cy="2441958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>
              <a:defRPr lang="en-US" sz="7000" b="0" cap="none" dirty="0">
                <a:solidFill>
                  <a:schemeClr val="bg1"/>
                </a:solidFill>
                <a:latin typeface="Better Times" pitchFamily="50" charset="0"/>
              </a:defRPr>
            </a:lvl1pPr>
          </a:lstStyle>
          <a:p>
            <a:pPr lvl="0">
              <a:lnSpc>
                <a:spcPct val="65000"/>
              </a:lnSpc>
              <a:spcAft>
                <a:spcPts val="0"/>
              </a:spcAft>
            </a:pPr>
            <a:r>
              <a:rPr lang="en-US"/>
              <a:t>Topic title here 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48030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bg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29848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Name Slide - G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600735"/>
            <a:ext cx="6095998" cy="89582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7000" b="0" cap="none" baseline="0">
                <a:solidFill>
                  <a:schemeClr val="bg1"/>
                </a:solidFill>
                <a:latin typeface="Better Times" pitchFamily="50" charset="0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35203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bg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E9ABBA35-1D45-4588-921B-A66A6C6A97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803" y="5008638"/>
            <a:ext cx="6095999" cy="402226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2000" b="1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7087D41A-BC19-4174-B7E8-446013D626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03" y="5369669"/>
            <a:ext cx="6095999" cy="32476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1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8861303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- G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3972372"/>
            <a:ext cx="6095998" cy="77463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lang="en-US" sz="7000" b="0" cap="none" dirty="0">
                <a:solidFill>
                  <a:schemeClr val="bg1"/>
                </a:solidFill>
                <a:latin typeface="Better Times" pitchFamily="50" charset="0"/>
              </a:defRPr>
            </a:lvl1pPr>
          </a:lstStyle>
          <a:p>
            <a:pPr lvl="0">
              <a:lnSpc>
                <a:spcPct val="65000"/>
              </a:lnSpc>
              <a:spcAft>
                <a:spcPts val="0"/>
              </a:spcAft>
            </a:pPr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48030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bg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32696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174453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 Slide - White">
    <p:bg>
      <p:bgPr>
        <a:solidFill>
          <a:srgbClr val="F9F9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600735"/>
            <a:ext cx="6095998" cy="89582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7000" b="0" cap="none" baseline="0">
                <a:solidFill>
                  <a:schemeClr val="tx1"/>
                </a:solidFill>
                <a:latin typeface="Better Times" pitchFamily="50" charset="0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35203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tx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E9ABBA35-1D45-4588-921B-A66A6C6A97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803" y="5008638"/>
            <a:ext cx="6095999" cy="402226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2000" b="1" cap="all" baseline="0">
                <a:solidFill>
                  <a:schemeClr val="tx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7087D41A-BC19-4174-B7E8-446013D626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03" y="5369669"/>
            <a:ext cx="6095999" cy="32476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1800" b="0" cap="all" baseline="0">
                <a:solidFill>
                  <a:schemeClr val="tx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570338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White">
    <p:bg>
      <p:bgPr>
        <a:solidFill>
          <a:srgbClr val="F9F9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508250"/>
            <a:ext cx="6095998" cy="2238758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>
              <a:defRPr lang="en-US" sz="7000" b="0" cap="none" dirty="0">
                <a:latin typeface="Better Times" pitchFamily="50" charset="0"/>
              </a:defRPr>
            </a:lvl1pPr>
          </a:lstStyle>
          <a:p>
            <a:pPr lvl="0">
              <a:lnSpc>
                <a:spcPct val="65000"/>
              </a:lnSpc>
              <a:spcAft>
                <a:spcPts val="0"/>
              </a:spcAft>
            </a:pPr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48030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tx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05148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 Slide - Heritage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600735"/>
            <a:ext cx="6095998" cy="89582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7000" b="0" cap="none" baseline="0">
                <a:solidFill>
                  <a:schemeClr val="bg1"/>
                </a:solidFill>
                <a:latin typeface="Better Times" pitchFamily="50" charset="0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35203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bg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E9ABBA35-1D45-4588-921B-A66A6C6A97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803" y="5008638"/>
            <a:ext cx="6095999" cy="402226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2000" b="1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7087D41A-BC19-4174-B7E8-446013D626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03" y="5369669"/>
            <a:ext cx="6095999" cy="32476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1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5278272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Heritage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305050"/>
            <a:ext cx="6095998" cy="2441958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>
              <a:defRPr lang="en-US" sz="7000" b="0" cap="none" dirty="0">
                <a:solidFill>
                  <a:schemeClr val="bg1"/>
                </a:solidFill>
                <a:latin typeface="Better Times" pitchFamily="50" charset="0"/>
              </a:defRPr>
            </a:lvl1pPr>
          </a:lstStyle>
          <a:p>
            <a:pPr lvl="0">
              <a:lnSpc>
                <a:spcPct val="65000"/>
              </a:lnSpc>
              <a:spcAft>
                <a:spcPts val="0"/>
              </a:spcAft>
            </a:pPr>
            <a:r>
              <a:rPr lang="en-US"/>
              <a:t>Topic title here 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48030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bg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238413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ame Slide - G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2600735"/>
            <a:ext cx="6095998" cy="89582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7000" b="0" cap="none" baseline="0">
                <a:solidFill>
                  <a:schemeClr val="bg1"/>
                </a:solidFill>
                <a:latin typeface="Better Times" pitchFamily="50" charset="0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35203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bg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E9ABBA35-1D45-4588-921B-A66A6C6A97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803" y="5008638"/>
            <a:ext cx="6095999" cy="402226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2000" b="1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7087D41A-BC19-4174-B7E8-446013D626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803" y="5369669"/>
            <a:ext cx="6095999" cy="32476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Aft>
                <a:spcPts val="0"/>
              </a:spcAft>
              <a:defRPr sz="1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6373191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- G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79AEAE-30EE-4867-9EBE-71F39FCE1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21500" y="0"/>
            <a:ext cx="52705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38" name="Picture 65">
            <a:extLst>
              <a:ext uri="{FF2B5EF4-FFF2-40B4-BE49-F238E27FC236}">
                <a16:creationId xmlns:a16="http://schemas.microsoft.com/office/drawing/2014/main" id="{C5D690A0-767A-487E-8C47-980080821D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29803" y="-2"/>
            <a:ext cx="1773999" cy="1773999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7588CF-2904-4AC9-A61E-2E40AE64A4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B7588CF-2904-4AC9-A61E-2E40AE64A4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425D8AB-10D2-405A-907E-6F31117570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803" y="3972372"/>
            <a:ext cx="6095998" cy="77463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lang="en-US" sz="7000" b="0" cap="none" dirty="0">
                <a:solidFill>
                  <a:schemeClr val="bg1"/>
                </a:solidFill>
                <a:latin typeface="Better Times" pitchFamily="50" charset="0"/>
              </a:defRPr>
            </a:lvl1pPr>
          </a:lstStyle>
          <a:p>
            <a:pPr lvl="0">
              <a:lnSpc>
                <a:spcPct val="65000"/>
              </a:lnSpc>
              <a:spcAft>
                <a:spcPts val="0"/>
              </a:spcAft>
            </a:pPr>
            <a:r>
              <a:rPr lang="en-US"/>
              <a:t>Topic title here</a:t>
            </a:r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629332DA-D15D-4591-AF49-6AA2D14B9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40" name="Holder 2">
            <a:extLst>
              <a:ext uri="{FF2B5EF4-FFF2-40B4-BE49-F238E27FC236}">
                <a16:creationId xmlns:a16="http://schemas.microsoft.com/office/drawing/2014/main" id="{7DF20522-C17C-4567-94A1-BA2D1DA09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803" y="4803031"/>
            <a:ext cx="6095999" cy="887486"/>
          </a:xfrm>
        </p:spPr>
        <p:txBody>
          <a:bodyPr wrap="square" lIns="0" tIns="0" rIns="0" bIns="0" anchor="t">
            <a:normAutofit/>
          </a:bodyPr>
          <a:lstStyle>
            <a:lvl1pPr algn="l">
              <a:lnSpc>
                <a:spcPct val="75000"/>
              </a:lnSpc>
              <a:defRPr sz="2400" b="1" i="0">
                <a:solidFill>
                  <a:schemeClr val="bg1"/>
                </a:solidFill>
                <a:latin typeface="+mn-lt"/>
                <a:cs typeface="MS London" panose="020B0503020203020204" pitchFamily="34" charset="0"/>
              </a:defRPr>
            </a:lvl1pPr>
          </a:lstStyle>
          <a:p>
            <a:r>
              <a:rPr lang="en-US"/>
              <a:t>Title in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85127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8" y="542586"/>
            <a:ext cx="9600513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9600513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758148-097A-462B-8F8D-230E01C3CB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1447800"/>
            <a:ext cx="11247437" cy="4732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52757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thi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79F7801-43A9-4A7F-AC8E-FBB5ED0420C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128249" y="-2"/>
            <a:ext cx="2063751" cy="6858002"/>
          </a:xfrm>
          <a:custGeom>
            <a:avLst/>
            <a:gdLst>
              <a:gd name="connsiteX0" fmla="*/ 419669 w 2063751"/>
              <a:gd name="connsiteY0" fmla="*/ 1 h 6858002"/>
              <a:gd name="connsiteX1" fmla="*/ 419669 w 2063751"/>
              <a:gd name="connsiteY1" fmla="*/ 1235293 h 6858002"/>
              <a:gd name="connsiteX2" fmla="*/ 1654961 w 2063751"/>
              <a:gd name="connsiteY2" fmla="*/ 1235293 h 6858002"/>
              <a:gd name="connsiteX3" fmla="*/ 1654961 w 2063751"/>
              <a:gd name="connsiteY3" fmla="*/ 1 h 6858002"/>
              <a:gd name="connsiteX4" fmla="*/ 0 w 2063751"/>
              <a:gd name="connsiteY4" fmla="*/ 0 h 6858002"/>
              <a:gd name="connsiteX5" fmla="*/ 2063751 w 2063751"/>
              <a:gd name="connsiteY5" fmla="*/ 0 h 6858002"/>
              <a:gd name="connsiteX6" fmla="*/ 2063751 w 2063751"/>
              <a:gd name="connsiteY6" fmla="*/ 6858002 h 6858002"/>
              <a:gd name="connsiteX7" fmla="*/ 0 w 2063751"/>
              <a:gd name="connsiteY7" fmla="*/ 6858002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63751" h="6858002">
                <a:moveTo>
                  <a:pt x="419669" y="1"/>
                </a:moveTo>
                <a:lnTo>
                  <a:pt x="419669" y="1235293"/>
                </a:lnTo>
                <a:lnTo>
                  <a:pt x="1654961" y="1235293"/>
                </a:lnTo>
                <a:lnTo>
                  <a:pt x="1654961" y="1"/>
                </a:lnTo>
                <a:close/>
                <a:moveTo>
                  <a:pt x="0" y="0"/>
                </a:moveTo>
                <a:lnTo>
                  <a:pt x="2063751" y="0"/>
                </a:lnTo>
                <a:lnTo>
                  <a:pt x="2063751" y="6858002"/>
                </a:lnTo>
                <a:lnTo>
                  <a:pt x="0" y="6858002"/>
                </a:lnTo>
                <a:close/>
              </a:path>
            </a:pathLst>
          </a:custGeom>
          <a:solidFill>
            <a:srgbClr val="CABEA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8" y="542586"/>
            <a:ext cx="9600513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9600513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571B55-1E12-4DEB-9C0A-A567C20DCE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3" y="1447800"/>
            <a:ext cx="9256712" cy="49133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30676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2FB5806-15E0-4883-817D-7407A63935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5428" y="0"/>
            <a:ext cx="4066572" cy="6857999"/>
          </a:xfrm>
          <a:custGeom>
            <a:avLst/>
            <a:gdLst>
              <a:gd name="connsiteX0" fmla="*/ 0 w 4066572"/>
              <a:gd name="connsiteY0" fmla="*/ 0 h 6857999"/>
              <a:gd name="connsiteX1" fmla="*/ 2422490 w 4066572"/>
              <a:gd name="connsiteY1" fmla="*/ 0 h 6857999"/>
              <a:gd name="connsiteX2" fmla="*/ 2422490 w 4066572"/>
              <a:gd name="connsiteY2" fmla="*/ 1235291 h 6857999"/>
              <a:gd name="connsiteX3" fmla="*/ 3657782 w 4066572"/>
              <a:gd name="connsiteY3" fmla="*/ 1235291 h 6857999"/>
              <a:gd name="connsiteX4" fmla="*/ 3657782 w 4066572"/>
              <a:gd name="connsiteY4" fmla="*/ 0 h 6857999"/>
              <a:gd name="connsiteX5" fmla="*/ 4066572 w 4066572"/>
              <a:gd name="connsiteY5" fmla="*/ 0 h 6857999"/>
              <a:gd name="connsiteX6" fmla="*/ 4066572 w 4066572"/>
              <a:gd name="connsiteY6" fmla="*/ 6857999 h 6857999"/>
              <a:gd name="connsiteX7" fmla="*/ 0 w 4066572"/>
              <a:gd name="connsiteY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66572" h="6857999">
                <a:moveTo>
                  <a:pt x="0" y="0"/>
                </a:moveTo>
                <a:lnTo>
                  <a:pt x="2422490" y="0"/>
                </a:lnTo>
                <a:lnTo>
                  <a:pt x="2422490" y="1235291"/>
                </a:lnTo>
                <a:lnTo>
                  <a:pt x="3657782" y="1235291"/>
                </a:lnTo>
                <a:lnTo>
                  <a:pt x="3657782" y="0"/>
                </a:lnTo>
                <a:lnTo>
                  <a:pt x="4066572" y="0"/>
                </a:lnTo>
                <a:lnTo>
                  <a:pt x="4066572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CABEA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8" y="542586"/>
            <a:ext cx="9600513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9600513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BECDAF-BA36-47FF-9F9E-A59E494093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1447800"/>
            <a:ext cx="6985000" cy="4732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2310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486D2E7-9E2D-4467-9592-EE1078BBC36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73900" y="0"/>
            <a:ext cx="5118100" cy="6857999"/>
          </a:xfrm>
          <a:custGeom>
            <a:avLst/>
            <a:gdLst>
              <a:gd name="connsiteX0" fmla="*/ 0 w 5118100"/>
              <a:gd name="connsiteY0" fmla="*/ 0 h 6857999"/>
              <a:gd name="connsiteX1" fmla="*/ 1051528 w 5118100"/>
              <a:gd name="connsiteY1" fmla="*/ 0 h 6857999"/>
              <a:gd name="connsiteX2" fmla="*/ 3474018 w 5118100"/>
              <a:gd name="connsiteY2" fmla="*/ 0 h 6857999"/>
              <a:gd name="connsiteX3" fmla="*/ 3474018 w 5118100"/>
              <a:gd name="connsiteY3" fmla="*/ 1235291 h 6857999"/>
              <a:gd name="connsiteX4" fmla="*/ 4709310 w 5118100"/>
              <a:gd name="connsiteY4" fmla="*/ 1235291 h 6857999"/>
              <a:gd name="connsiteX5" fmla="*/ 4709310 w 5118100"/>
              <a:gd name="connsiteY5" fmla="*/ 0 h 6857999"/>
              <a:gd name="connsiteX6" fmla="*/ 5118100 w 5118100"/>
              <a:gd name="connsiteY6" fmla="*/ 0 h 6857999"/>
              <a:gd name="connsiteX7" fmla="*/ 5118100 w 5118100"/>
              <a:gd name="connsiteY7" fmla="*/ 6857979 h 6857999"/>
              <a:gd name="connsiteX8" fmla="*/ 5118100 w 5118100"/>
              <a:gd name="connsiteY8" fmla="*/ 6857999 h 6857999"/>
              <a:gd name="connsiteX9" fmla="*/ 1051528 w 5118100"/>
              <a:gd name="connsiteY9" fmla="*/ 6857999 h 6857999"/>
              <a:gd name="connsiteX10" fmla="*/ 1051528 w 5118100"/>
              <a:gd name="connsiteY10" fmla="*/ 6857979 h 6857999"/>
              <a:gd name="connsiteX11" fmla="*/ 0 w 5118100"/>
              <a:gd name="connsiteY11" fmla="*/ 685797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18100" h="6857999">
                <a:moveTo>
                  <a:pt x="0" y="0"/>
                </a:moveTo>
                <a:lnTo>
                  <a:pt x="1051528" y="0"/>
                </a:lnTo>
                <a:lnTo>
                  <a:pt x="3474018" y="0"/>
                </a:lnTo>
                <a:lnTo>
                  <a:pt x="3474018" y="1235291"/>
                </a:lnTo>
                <a:lnTo>
                  <a:pt x="4709310" y="1235291"/>
                </a:lnTo>
                <a:lnTo>
                  <a:pt x="4709310" y="0"/>
                </a:lnTo>
                <a:lnTo>
                  <a:pt x="5118100" y="0"/>
                </a:lnTo>
                <a:lnTo>
                  <a:pt x="5118100" y="6857979"/>
                </a:lnTo>
                <a:lnTo>
                  <a:pt x="5118100" y="6857999"/>
                </a:lnTo>
                <a:lnTo>
                  <a:pt x="1051528" y="6857999"/>
                </a:lnTo>
                <a:lnTo>
                  <a:pt x="1051528" y="6857979"/>
                </a:lnTo>
                <a:lnTo>
                  <a:pt x="0" y="6857979"/>
                </a:lnTo>
                <a:close/>
              </a:path>
            </a:pathLst>
          </a:custGeom>
          <a:solidFill>
            <a:srgbClr val="CABEA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8" y="542586"/>
            <a:ext cx="9600513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9600513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81F256-B2D1-4036-A07D-932B60B3C5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447800"/>
            <a:ext cx="6230937" cy="4795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529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587481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79F7801-43A9-4A7F-AC8E-FBB5ED0420C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128249" y="-2"/>
            <a:ext cx="2063751" cy="6858002"/>
          </a:xfrm>
          <a:custGeom>
            <a:avLst/>
            <a:gdLst>
              <a:gd name="connsiteX0" fmla="*/ 419669 w 2063751"/>
              <a:gd name="connsiteY0" fmla="*/ 1 h 6858002"/>
              <a:gd name="connsiteX1" fmla="*/ 419669 w 2063751"/>
              <a:gd name="connsiteY1" fmla="*/ 1235293 h 6858002"/>
              <a:gd name="connsiteX2" fmla="*/ 1654961 w 2063751"/>
              <a:gd name="connsiteY2" fmla="*/ 1235293 h 6858002"/>
              <a:gd name="connsiteX3" fmla="*/ 1654961 w 2063751"/>
              <a:gd name="connsiteY3" fmla="*/ 1 h 6858002"/>
              <a:gd name="connsiteX4" fmla="*/ 0 w 2063751"/>
              <a:gd name="connsiteY4" fmla="*/ 0 h 6858002"/>
              <a:gd name="connsiteX5" fmla="*/ 2063751 w 2063751"/>
              <a:gd name="connsiteY5" fmla="*/ 0 h 6858002"/>
              <a:gd name="connsiteX6" fmla="*/ 2063751 w 2063751"/>
              <a:gd name="connsiteY6" fmla="*/ 6858002 h 6858002"/>
              <a:gd name="connsiteX7" fmla="*/ 0 w 2063751"/>
              <a:gd name="connsiteY7" fmla="*/ 6858002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63751" h="6858002">
                <a:moveTo>
                  <a:pt x="419669" y="1"/>
                </a:moveTo>
                <a:lnTo>
                  <a:pt x="419669" y="1235293"/>
                </a:lnTo>
                <a:lnTo>
                  <a:pt x="1654961" y="1235293"/>
                </a:lnTo>
                <a:lnTo>
                  <a:pt x="1654961" y="1"/>
                </a:lnTo>
                <a:close/>
                <a:moveTo>
                  <a:pt x="0" y="0"/>
                </a:moveTo>
                <a:lnTo>
                  <a:pt x="2063751" y="0"/>
                </a:lnTo>
                <a:lnTo>
                  <a:pt x="2063751" y="6858002"/>
                </a:lnTo>
                <a:lnTo>
                  <a:pt x="0" y="6858002"/>
                </a:lnTo>
                <a:close/>
              </a:path>
            </a:pathLst>
          </a:custGeom>
          <a:solidFill>
            <a:srgbClr val="CABEA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8" y="542586"/>
            <a:ext cx="9600513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9600513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2966740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2FB5806-15E0-4883-817D-7407A63935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5428" y="0"/>
            <a:ext cx="4066572" cy="6857999"/>
          </a:xfrm>
          <a:custGeom>
            <a:avLst/>
            <a:gdLst>
              <a:gd name="connsiteX0" fmla="*/ 0 w 4066572"/>
              <a:gd name="connsiteY0" fmla="*/ 0 h 6857999"/>
              <a:gd name="connsiteX1" fmla="*/ 2422490 w 4066572"/>
              <a:gd name="connsiteY1" fmla="*/ 0 h 6857999"/>
              <a:gd name="connsiteX2" fmla="*/ 2422490 w 4066572"/>
              <a:gd name="connsiteY2" fmla="*/ 1235291 h 6857999"/>
              <a:gd name="connsiteX3" fmla="*/ 3657782 w 4066572"/>
              <a:gd name="connsiteY3" fmla="*/ 1235291 h 6857999"/>
              <a:gd name="connsiteX4" fmla="*/ 3657782 w 4066572"/>
              <a:gd name="connsiteY4" fmla="*/ 0 h 6857999"/>
              <a:gd name="connsiteX5" fmla="*/ 4066572 w 4066572"/>
              <a:gd name="connsiteY5" fmla="*/ 0 h 6857999"/>
              <a:gd name="connsiteX6" fmla="*/ 4066572 w 4066572"/>
              <a:gd name="connsiteY6" fmla="*/ 6857999 h 6857999"/>
              <a:gd name="connsiteX7" fmla="*/ 0 w 4066572"/>
              <a:gd name="connsiteY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66572" h="6857999">
                <a:moveTo>
                  <a:pt x="0" y="0"/>
                </a:moveTo>
                <a:lnTo>
                  <a:pt x="2422490" y="0"/>
                </a:lnTo>
                <a:lnTo>
                  <a:pt x="2422490" y="1235291"/>
                </a:lnTo>
                <a:lnTo>
                  <a:pt x="3657782" y="1235291"/>
                </a:lnTo>
                <a:lnTo>
                  <a:pt x="3657782" y="0"/>
                </a:lnTo>
                <a:lnTo>
                  <a:pt x="4066572" y="0"/>
                </a:lnTo>
                <a:lnTo>
                  <a:pt x="4066572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CABEA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9" y="542586"/>
            <a:ext cx="7530522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9" y="206696"/>
            <a:ext cx="7530522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8309994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7D7B9A-2C54-4623-8499-E7546B0D5D1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5428" y="0"/>
            <a:ext cx="4066572" cy="3429000"/>
          </a:xfrm>
          <a:custGeom>
            <a:avLst/>
            <a:gdLst>
              <a:gd name="connsiteX0" fmla="*/ 0 w 4066572"/>
              <a:gd name="connsiteY0" fmla="*/ 0 h 3429000"/>
              <a:gd name="connsiteX1" fmla="*/ 2422490 w 4066572"/>
              <a:gd name="connsiteY1" fmla="*/ 0 h 3429000"/>
              <a:gd name="connsiteX2" fmla="*/ 2422490 w 4066572"/>
              <a:gd name="connsiteY2" fmla="*/ 1235291 h 3429000"/>
              <a:gd name="connsiteX3" fmla="*/ 3657782 w 4066572"/>
              <a:gd name="connsiteY3" fmla="*/ 1235291 h 3429000"/>
              <a:gd name="connsiteX4" fmla="*/ 3657782 w 4066572"/>
              <a:gd name="connsiteY4" fmla="*/ 0 h 3429000"/>
              <a:gd name="connsiteX5" fmla="*/ 4066572 w 4066572"/>
              <a:gd name="connsiteY5" fmla="*/ 0 h 3429000"/>
              <a:gd name="connsiteX6" fmla="*/ 4066572 w 4066572"/>
              <a:gd name="connsiteY6" fmla="*/ 3429000 h 3429000"/>
              <a:gd name="connsiteX7" fmla="*/ 0 w 4066572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66572" h="3429000">
                <a:moveTo>
                  <a:pt x="0" y="0"/>
                </a:moveTo>
                <a:lnTo>
                  <a:pt x="2422490" y="0"/>
                </a:lnTo>
                <a:lnTo>
                  <a:pt x="2422490" y="1235291"/>
                </a:lnTo>
                <a:lnTo>
                  <a:pt x="3657782" y="1235291"/>
                </a:lnTo>
                <a:lnTo>
                  <a:pt x="3657782" y="0"/>
                </a:lnTo>
                <a:lnTo>
                  <a:pt x="4066572" y="0"/>
                </a:lnTo>
                <a:lnTo>
                  <a:pt x="4066572" y="3429000"/>
                </a:lnTo>
                <a:lnTo>
                  <a:pt x="0" y="3429000"/>
                </a:lnTo>
                <a:close/>
              </a:path>
            </a:pathLst>
          </a:custGeom>
          <a:solidFill>
            <a:srgbClr val="CABEA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9" y="542586"/>
            <a:ext cx="7530522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9" y="206696"/>
            <a:ext cx="7530522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FC255E2-B416-4470-8A06-C29A4E88A3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4825" y="3471333"/>
            <a:ext cx="4067175" cy="3386667"/>
          </a:xfrm>
          <a:solidFill>
            <a:srgbClr val="CABEA2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2527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486D2E7-9E2D-4467-9592-EE1078BBC36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73900" y="0"/>
            <a:ext cx="5118100" cy="6857999"/>
          </a:xfrm>
          <a:custGeom>
            <a:avLst/>
            <a:gdLst>
              <a:gd name="connsiteX0" fmla="*/ 0 w 5118100"/>
              <a:gd name="connsiteY0" fmla="*/ 0 h 6857999"/>
              <a:gd name="connsiteX1" fmla="*/ 1051528 w 5118100"/>
              <a:gd name="connsiteY1" fmla="*/ 0 h 6857999"/>
              <a:gd name="connsiteX2" fmla="*/ 3474018 w 5118100"/>
              <a:gd name="connsiteY2" fmla="*/ 0 h 6857999"/>
              <a:gd name="connsiteX3" fmla="*/ 3474018 w 5118100"/>
              <a:gd name="connsiteY3" fmla="*/ 1235291 h 6857999"/>
              <a:gd name="connsiteX4" fmla="*/ 4709310 w 5118100"/>
              <a:gd name="connsiteY4" fmla="*/ 1235291 h 6857999"/>
              <a:gd name="connsiteX5" fmla="*/ 4709310 w 5118100"/>
              <a:gd name="connsiteY5" fmla="*/ 0 h 6857999"/>
              <a:gd name="connsiteX6" fmla="*/ 5118100 w 5118100"/>
              <a:gd name="connsiteY6" fmla="*/ 0 h 6857999"/>
              <a:gd name="connsiteX7" fmla="*/ 5118100 w 5118100"/>
              <a:gd name="connsiteY7" fmla="*/ 6857979 h 6857999"/>
              <a:gd name="connsiteX8" fmla="*/ 5118100 w 5118100"/>
              <a:gd name="connsiteY8" fmla="*/ 6857999 h 6857999"/>
              <a:gd name="connsiteX9" fmla="*/ 1051528 w 5118100"/>
              <a:gd name="connsiteY9" fmla="*/ 6857999 h 6857999"/>
              <a:gd name="connsiteX10" fmla="*/ 1051528 w 5118100"/>
              <a:gd name="connsiteY10" fmla="*/ 6857979 h 6857999"/>
              <a:gd name="connsiteX11" fmla="*/ 0 w 5118100"/>
              <a:gd name="connsiteY11" fmla="*/ 685797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118100" h="6857999">
                <a:moveTo>
                  <a:pt x="0" y="0"/>
                </a:moveTo>
                <a:lnTo>
                  <a:pt x="1051528" y="0"/>
                </a:lnTo>
                <a:lnTo>
                  <a:pt x="3474018" y="0"/>
                </a:lnTo>
                <a:lnTo>
                  <a:pt x="3474018" y="1235291"/>
                </a:lnTo>
                <a:lnTo>
                  <a:pt x="4709310" y="1235291"/>
                </a:lnTo>
                <a:lnTo>
                  <a:pt x="4709310" y="0"/>
                </a:lnTo>
                <a:lnTo>
                  <a:pt x="5118100" y="0"/>
                </a:lnTo>
                <a:lnTo>
                  <a:pt x="5118100" y="6857979"/>
                </a:lnTo>
                <a:lnTo>
                  <a:pt x="5118100" y="6857999"/>
                </a:lnTo>
                <a:lnTo>
                  <a:pt x="1051528" y="6857999"/>
                </a:lnTo>
                <a:lnTo>
                  <a:pt x="1051528" y="6857979"/>
                </a:lnTo>
                <a:lnTo>
                  <a:pt x="0" y="6857979"/>
                </a:lnTo>
                <a:close/>
              </a:path>
            </a:pathLst>
          </a:custGeom>
          <a:solidFill>
            <a:srgbClr val="CABEA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9" y="542586"/>
            <a:ext cx="6478962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9" y="206696"/>
            <a:ext cx="6478962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30063308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2AD0108B-59B3-41DD-90A3-43600EA24C3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143000"/>
            <a:ext cx="12191999" cy="5715000"/>
          </a:xfrm>
          <a:custGeom>
            <a:avLst/>
            <a:gdLst>
              <a:gd name="connsiteX0" fmla="*/ 0 w 12191999"/>
              <a:gd name="connsiteY0" fmla="*/ 0 h 5715000"/>
              <a:gd name="connsiteX1" fmla="*/ 10547918 w 12191999"/>
              <a:gd name="connsiteY1" fmla="*/ 0 h 5715000"/>
              <a:gd name="connsiteX2" fmla="*/ 10547918 w 12191999"/>
              <a:gd name="connsiteY2" fmla="*/ 92291 h 5715000"/>
              <a:gd name="connsiteX3" fmla="*/ 11783210 w 12191999"/>
              <a:gd name="connsiteY3" fmla="*/ 92291 h 5715000"/>
              <a:gd name="connsiteX4" fmla="*/ 11783210 w 12191999"/>
              <a:gd name="connsiteY4" fmla="*/ 0 h 5715000"/>
              <a:gd name="connsiteX5" fmla="*/ 12191999 w 12191999"/>
              <a:gd name="connsiteY5" fmla="*/ 0 h 5715000"/>
              <a:gd name="connsiteX6" fmla="*/ 12191999 w 12191999"/>
              <a:gd name="connsiteY6" fmla="*/ 5715000 h 5715000"/>
              <a:gd name="connsiteX7" fmla="*/ 0 w 12191999"/>
              <a:gd name="connsiteY7" fmla="*/ 5715000 h 571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5715000">
                <a:moveTo>
                  <a:pt x="0" y="0"/>
                </a:moveTo>
                <a:lnTo>
                  <a:pt x="10547918" y="0"/>
                </a:lnTo>
                <a:lnTo>
                  <a:pt x="10547918" y="92291"/>
                </a:lnTo>
                <a:lnTo>
                  <a:pt x="11783210" y="92291"/>
                </a:lnTo>
                <a:lnTo>
                  <a:pt x="11783210" y="0"/>
                </a:lnTo>
                <a:lnTo>
                  <a:pt x="12191999" y="0"/>
                </a:lnTo>
                <a:lnTo>
                  <a:pt x="12191999" y="5715000"/>
                </a:lnTo>
                <a:lnTo>
                  <a:pt x="0" y="5715000"/>
                </a:lnTo>
                <a:close/>
              </a:path>
            </a:pathLst>
          </a:custGeom>
          <a:solidFill>
            <a:srgbClr val="CABEA2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endParaRPr lang="en-GB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5823D6-DE59-4955-A25F-D213C8C886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10132122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AC773B-57CE-4798-88B2-6D2B99AD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D9C1B92C-ED4B-487C-8E76-8212A3172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27D0D2-1CA1-4925-82AC-3DC491DF66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3" y="1447800"/>
            <a:ext cx="11253787" cy="48799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14496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5823D6-DE59-4955-A25F-D213C8C886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10117297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847176-8558-4685-83F4-3D5B4D944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Holder 6">
            <a:extLst>
              <a:ext uri="{FF2B5EF4-FFF2-40B4-BE49-F238E27FC236}">
                <a16:creationId xmlns:a16="http://schemas.microsoft.com/office/drawing/2014/main" id="{EA6901C0-DFDA-4B8A-AA18-3E440B40F2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11682166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5823D6-DE59-4955-A25F-D213C8C886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10117297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847176-8558-4685-83F4-3D5B4D944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B74895-22AA-4822-A6CA-922959394C72}"/>
              </a:ext>
            </a:extLst>
          </p:cNvPr>
          <p:cNvSpPr/>
          <p:nvPr userDrawn="1"/>
        </p:nvSpPr>
        <p:spPr>
          <a:xfrm>
            <a:off x="6413500" y="1143000"/>
            <a:ext cx="5778500" cy="5715000"/>
          </a:xfrm>
          <a:prstGeom prst="rect">
            <a:avLst/>
          </a:prstGeom>
          <a:solidFill>
            <a:schemeClr val="bg1">
              <a:alpha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25200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871788" algn="l"/>
                <a:tab pos="4662488" algn="l"/>
              </a:tabLst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London"/>
              <a:ea typeface="ＭＳ Ｐゴシック"/>
              <a:cs typeface="+mn-cs"/>
            </a:endParaRPr>
          </a:p>
        </p:txBody>
      </p:sp>
      <p:sp>
        <p:nvSpPr>
          <p:cNvPr id="21" name="Holder 6">
            <a:extLst>
              <a:ext uri="{FF2B5EF4-FFF2-40B4-BE49-F238E27FC236}">
                <a16:creationId xmlns:a16="http://schemas.microsoft.com/office/drawing/2014/main" id="{F70573F7-89E3-4193-8370-5A0E63672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pic>
        <p:nvPicPr>
          <p:cNvPr id="22" name="Picture 65">
            <a:extLst>
              <a:ext uri="{FF2B5EF4-FFF2-40B4-BE49-F238E27FC236}">
                <a16:creationId xmlns:a16="http://schemas.microsoft.com/office/drawing/2014/main" id="{11407F6D-8664-4DA9-BC99-71862F9972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CCCDD3-55B5-45CC-9459-239783FBDB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1447800"/>
            <a:ext cx="5545137" cy="4732338"/>
          </a:xfrm>
        </p:spPr>
        <p:txBody>
          <a:bodyPr/>
          <a:lstStyle>
            <a:lvl1pPr>
              <a:lnSpc>
                <a:spcPct val="85000"/>
              </a:lnSpc>
              <a:spcAft>
                <a:spcPts val="1200"/>
              </a:spcAft>
              <a:defRPr/>
            </a:lvl1pPr>
            <a:lvl2pPr>
              <a:lnSpc>
                <a:spcPct val="85000"/>
              </a:lnSpc>
              <a:spcAft>
                <a:spcPts val="1200"/>
              </a:spcAft>
              <a:defRPr/>
            </a:lvl2pPr>
            <a:lvl3pPr>
              <a:lnSpc>
                <a:spcPct val="85000"/>
              </a:lnSpc>
              <a:spcAft>
                <a:spcPts val="1200"/>
              </a:spcAft>
              <a:defRPr/>
            </a:lvl3pPr>
            <a:lvl4pPr>
              <a:lnSpc>
                <a:spcPct val="85000"/>
              </a:lnSpc>
              <a:spcAft>
                <a:spcPts val="1200"/>
              </a:spcAft>
              <a:defRPr/>
            </a:lvl4pPr>
            <a:lvl5pPr>
              <a:lnSpc>
                <a:spcPct val="85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00603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 with sub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5823D6-DE59-4955-A25F-D213C8C886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10117297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847176-8558-4685-83F4-3D5B4D944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B74895-22AA-4822-A6CA-922959394C72}"/>
              </a:ext>
            </a:extLst>
          </p:cNvPr>
          <p:cNvSpPr/>
          <p:nvPr userDrawn="1"/>
        </p:nvSpPr>
        <p:spPr>
          <a:xfrm>
            <a:off x="6096000" y="1143000"/>
            <a:ext cx="6096000" cy="5715000"/>
          </a:xfrm>
          <a:prstGeom prst="rect">
            <a:avLst/>
          </a:prstGeom>
          <a:solidFill>
            <a:schemeClr val="bg1">
              <a:alpha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25200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871788" algn="l"/>
                <a:tab pos="4662488" algn="l"/>
              </a:tabLst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London"/>
              <a:ea typeface="ＭＳ Ｐゴシック"/>
              <a:cs typeface="+mn-cs"/>
            </a:endParaRPr>
          </a:p>
        </p:txBody>
      </p:sp>
      <p:sp>
        <p:nvSpPr>
          <p:cNvPr id="21" name="Holder 6">
            <a:extLst>
              <a:ext uri="{FF2B5EF4-FFF2-40B4-BE49-F238E27FC236}">
                <a16:creationId xmlns:a16="http://schemas.microsoft.com/office/drawing/2014/main" id="{F70573F7-89E3-4193-8370-5A0E63672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pic>
        <p:nvPicPr>
          <p:cNvPr id="22" name="Picture 65">
            <a:extLst>
              <a:ext uri="{FF2B5EF4-FFF2-40B4-BE49-F238E27FC236}">
                <a16:creationId xmlns:a16="http://schemas.microsoft.com/office/drawing/2014/main" id="{11407F6D-8664-4DA9-BC99-71862F9972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784B6D-F245-45D6-8027-6E1BEB8388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1447800"/>
            <a:ext cx="5303837" cy="4867275"/>
          </a:xfrm>
        </p:spPr>
        <p:txBody>
          <a:bodyPr/>
          <a:lstStyle>
            <a:lvl1pPr>
              <a:lnSpc>
                <a:spcPct val="85000"/>
              </a:lnSpc>
              <a:spcAft>
                <a:spcPts val="1200"/>
              </a:spcAft>
              <a:defRPr/>
            </a:lvl1pPr>
            <a:lvl2pPr>
              <a:lnSpc>
                <a:spcPct val="85000"/>
              </a:lnSpc>
              <a:spcAft>
                <a:spcPts val="1200"/>
              </a:spcAft>
              <a:defRPr/>
            </a:lvl2pPr>
            <a:lvl3pPr>
              <a:lnSpc>
                <a:spcPct val="85000"/>
              </a:lnSpc>
              <a:spcAft>
                <a:spcPts val="1200"/>
              </a:spcAft>
              <a:defRPr/>
            </a:lvl3pPr>
            <a:lvl4pPr>
              <a:lnSpc>
                <a:spcPct val="85000"/>
              </a:lnSpc>
              <a:spcAft>
                <a:spcPts val="1200"/>
              </a:spcAft>
              <a:defRPr/>
            </a:lvl4pPr>
            <a:lvl5pPr>
              <a:lnSpc>
                <a:spcPct val="85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03810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 with sub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5823D6-DE59-4955-A25F-D213C8C886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10117297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847176-8558-4685-83F4-3D5B4D944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B74895-22AA-4822-A6CA-922959394C72}"/>
              </a:ext>
            </a:extLst>
          </p:cNvPr>
          <p:cNvSpPr/>
          <p:nvPr userDrawn="1"/>
        </p:nvSpPr>
        <p:spPr>
          <a:xfrm>
            <a:off x="5181600" y="1143000"/>
            <a:ext cx="7010400" cy="5715000"/>
          </a:xfrm>
          <a:prstGeom prst="rect">
            <a:avLst/>
          </a:prstGeom>
          <a:solidFill>
            <a:schemeClr val="bg1">
              <a:alpha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25200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871788" algn="l"/>
                <a:tab pos="4662488" algn="l"/>
              </a:tabLst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London"/>
              <a:ea typeface="ＭＳ Ｐゴシック"/>
              <a:cs typeface="+mn-cs"/>
            </a:endParaRPr>
          </a:p>
        </p:txBody>
      </p:sp>
      <p:sp>
        <p:nvSpPr>
          <p:cNvPr id="21" name="Holder 6">
            <a:extLst>
              <a:ext uri="{FF2B5EF4-FFF2-40B4-BE49-F238E27FC236}">
                <a16:creationId xmlns:a16="http://schemas.microsoft.com/office/drawing/2014/main" id="{F70573F7-89E3-4193-8370-5A0E63672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pic>
        <p:nvPicPr>
          <p:cNvPr id="22" name="Picture 65">
            <a:extLst>
              <a:ext uri="{FF2B5EF4-FFF2-40B4-BE49-F238E27FC236}">
                <a16:creationId xmlns:a16="http://schemas.microsoft.com/office/drawing/2014/main" id="{11407F6D-8664-4DA9-BC99-71862F9972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784B6D-F245-45D6-8027-6E1BEB8388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1447800"/>
            <a:ext cx="4270057" cy="4867275"/>
          </a:xfrm>
        </p:spPr>
        <p:txBody>
          <a:bodyPr/>
          <a:lstStyle>
            <a:lvl1pPr>
              <a:lnSpc>
                <a:spcPct val="85000"/>
              </a:lnSpc>
              <a:spcAft>
                <a:spcPts val="1200"/>
              </a:spcAft>
              <a:defRPr/>
            </a:lvl1pPr>
            <a:lvl2pPr>
              <a:lnSpc>
                <a:spcPct val="85000"/>
              </a:lnSpc>
              <a:spcAft>
                <a:spcPts val="1200"/>
              </a:spcAft>
              <a:defRPr/>
            </a:lvl2pPr>
            <a:lvl3pPr>
              <a:lnSpc>
                <a:spcPct val="85000"/>
              </a:lnSpc>
              <a:spcAft>
                <a:spcPts val="1200"/>
              </a:spcAft>
              <a:defRPr/>
            </a:lvl3pPr>
            <a:lvl4pPr>
              <a:lnSpc>
                <a:spcPct val="85000"/>
              </a:lnSpc>
              <a:spcAft>
                <a:spcPts val="1200"/>
              </a:spcAft>
              <a:defRPr/>
            </a:lvl4pPr>
            <a:lvl5pPr>
              <a:lnSpc>
                <a:spcPct val="85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1800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- Heritage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5">
            <a:extLst>
              <a:ext uri="{FF2B5EF4-FFF2-40B4-BE49-F238E27FC236}">
                <a16:creationId xmlns:a16="http://schemas.microsoft.com/office/drawing/2014/main" id="{1F7A8AB7-7C4F-4DDB-9EAB-1F2512D17E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C392A5-765C-472A-A5C1-496A24368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40840" y="1646771"/>
            <a:ext cx="8910320" cy="3352800"/>
          </a:xfrm>
        </p:spPr>
        <p:txBody>
          <a:bodyPr anchor="b">
            <a:normAutofit/>
          </a:bodyPr>
          <a:lstStyle>
            <a:lvl1pPr algn="ctr">
              <a:defRPr sz="54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EB40E7-E92A-48FD-BB39-433F348F7B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50938" y="5096726"/>
            <a:ext cx="8889806" cy="670242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323C76B2-8495-479F-87B4-98F1A0A715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91148375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393819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- G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5">
            <a:extLst>
              <a:ext uri="{FF2B5EF4-FFF2-40B4-BE49-F238E27FC236}">
                <a16:creationId xmlns:a16="http://schemas.microsoft.com/office/drawing/2014/main" id="{1F7A8AB7-7C4F-4DDB-9EAB-1F2512D17E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C392A5-765C-472A-A5C1-496A24368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40840" y="1646771"/>
            <a:ext cx="8910320" cy="3352800"/>
          </a:xfrm>
        </p:spPr>
        <p:txBody>
          <a:bodyPr anchor="b">
            <a:normAutofit/>
          </a:bodyPr>
          <a:lstStyle>
            <a:lvl1pPr algn="ctr">
              <a:defRPr sz="54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EB40E7-E92A-48FD-BB39-433F348F7B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50938" y="5096726"/>
            <a:ext cx="8889806" cy="670242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D4E89F0D-09A9-4097-B664-2D74D667D2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167059046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- Grey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0C43C5-5433-4F0B-AE52-CF9945C2E1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83680" y="0"/>
            <a:ext cx="5608320" cy="6858000"/>
          </a:xfrm>
          <a:custGeom>
            <a:avLst/>
            <a:gdLst>
              <a:gd name="connsiteX0" fmla="*/ 0 w 5608320"/>
              <a:gd name="connsiteY0" fmla="*/ 0 h 6858000"/>
              <a:gd name="connsiteX1" fmla="*/ 3964238 w 5608320"/>
              <a:gd name="connsiteY1" fmla="*/ 0 h 6858000"/>
              <a:gd name="connsiteX2" fmla="*/ 3964238 w 5608320"/>
              <a:gd name="connsiteY2" fmla="*/ 1235291 h 6858000"/>
              <a:gd name="connsiteX3" fmla="*/ 5199530 w 5608320"/>
              <a:gd name="connsiteY3" fmla="*/ 1235291 h 6858000"/>
              <a:gd name="connsiteX4" fmla="*/ 5199530 w 5608320"/>
              <a:gd name="connsiteY4" fmla="*/ 0 h 6858000"/>
              <a:gd name="connsiteX5" fmla="*/ 5608320 w 5608320"/>
              <a:gd name="connsiteY5" fmla="*/ 0 h 6858000"/>
              <a:gd name="connsiteX6" fmla="*/ 5608320 w 5608320"/>
              <a:gd name="connsiteY6" fmla="*/ 6858000 h 6858000"/>
              <a:gd name="connsiteX7" fmla="*/ 0 w 560832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8320" h="6858000">
                <a:moveTo>
                  <a:pt x="0" y="0"/>
                </a:moveTo>
                <a:lnTo>
                  <a:pt x="3964238" y="0"/>
                </a:lnTo>
                <a:lnTo>
                  <a:pt x="3964238" y="1235291"/>
                </a:lnTo>
                <a:lnTo>
                  <a:pt x="5199530" y="1235291"/>
                </a:lnTo>
                <a:lnTo>
                  <a:pt x="5199530" y="0"/>
                </a:lnTo>
                <a:lnTo>
                  <a:pt x="5608320" y="0"/>
                </a:lnTo>
                <a:lnTo>
                  <a:pt x="560832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C392A5-765C-472A-A5C1-496A24368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862" y="691731"/>
            <a:ext cx="5545137" cy="3352800"/>
          </a:xfrm>
        </p:spPr>
        <p:txBody>
          <a:bodyPr anchor="b">
            <a:normAutofit/>
          </a:bodyPr>
          <a:lstStyle>
            <a:lvl1pPr algn="ctr">
              <a:defRPr sz="4800" cap="all" baseline="0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EB40E7-E92A-48FD-BB39-433F348F7B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300" y="4141686"/>
            <a:ext cx="5532371" cy="670242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65">
            <a:extLst>
              <a:ext uri="{FF2B5EF4-FFF2-40B4-BE49-F238E27FC236}">
                <a16:creationId xmlns:a16="http://schemas.microsoft.com/office/drawing/2014/main" id="{A70B77C3-06BC-4CCA-9201-343AA42292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10" name="Holder 6">
            <a:extLst>
              <a:ext uri="{FF2B5EF4-FFF2-40B4-BE49-F238E27FC236}">
                <a16:creationId xmlns:a16="http://schemas.microsoft.com/office/drawing/2014/main" id="{B6BF5277-C209-4FD9-A258-91629815C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19142961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- Green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0C43C5-5433-4F0B-AE52-CF9945C2E1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83680" y="0"/>
            <a:ext cx="5608320" cy="6858000"/>
          </a:xfrm>
          <a:custGeom>
            <a:avLst/>
            <a:gdLst>
              <a:gd name="connsiteX0" fmla="*/ 0 w 5608320"/>
              <a:gd name="connsiteY0" fmla="*/ 0 h 6858000"/>
              <a:gd name="connsiteX1" fmla="*/ 3964238 w 5608320"/>
              <a:gd name="connsiteY1" fmla="*/ 0 h 6858000"/>
              <a:gd name="connsiteX2" fmla="*/ 3964238 w 5608320"/>
              <a:gd name="connsiteY2" fmla="*/ 1235291 h 6858000"/>
              <a:gd name="connsiteX3" fmla="*/ 5199530 w 5608320"/>
              <a:gd name="connsiteY3" fmla="*/ 1235291 h 6858000"/>
              <a:gd name="connsiteX4" fmla="*/ 5199530 w 5608320"/>
              <a:gd name="connsiteY4" fmla="*/ 0 h 6858000"/>
              <a:gd name="connsiteX5" fmla="*/ 5608320 w 5608320"/>
              <a:gd name="connsiteY5" fmla="*/ 0 h 6858000"/>
              <a:gd name="connsiteX6" fmla="*/ 5608320 w 5608320"/>
              <a:gd name="connsiteY6" fmla="*/ 6858000 h 6858000"/>
              <a:gd name="connsiteX7" fmla="*/ 0 w 560832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8320" h="6858000">
                <a:moveTo>
                  <a:pt x="0" y="0"/>
                </a:moveTo>
                <a:lnTo>
                  <a:pt x="3964238" y="0"/>
                </a:lnTo>
                <a:lnTo>
                  <a:pt x="3964238" y="1235291"/>
                </a:lnTo>
                <a:lnTo>
                  <a:pt x="5199530" y="1235291"/>
                </a:lnTo>
                <a:lnTo>
                  <a:pt x="5199530" y="0"/>
                </a:lnTo>
                <a:lnTo>
                  <a:pt x="5608320" y="0"/>
                </a:lnTo>
                <a:lnTo>
                  <a:pt x="560832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C392A5-765C-472A-A5C1-496A24368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862" y="691731"/>
            <a:ext cx="5545137" cy="3352800"/>
          </a:xfrm>
        </p:spPr>
        <p:txBody>
          <a:bodyPr anchor="b">
            <a:normAutofit/>
          </a:bodyPr>
          <a:lstStyle>
            <a:lvl1pPr algn="ctr">
              <a:defRPr sz="48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EB40E7-E92A-48FD-BB39-433F348F7B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300" y="4141686"/>
            <a:ext cx="5532371" cy="670242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65">
            <a:extLst>
              <a:ext uri="{FF2B5EF4-FFF2-40B4-BE49-F238E27FC236}">
                <a16:creationId xmlns:a16="http://schemas.microsoft.com/office/drawing/2014/main" id="{A70B77C3-06BC-4CCA-9201-343AA42292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10" name="Holder 6">
            <a:extLst>
              <a:ext uri="{FF2B5EF4-FFF2-40B4-BE49-F238E27FC236}">
                <a16:creationId xmlns:a16="http://schemas.microsoft.com/office/drawing/2014/main" id="{B6BF5277-C209-4FD9-A258-91629815C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217979412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- Gold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B0C43C5-5433-4F0B-AE52-CF9945C2E1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583680" y="0"/>
            <a:ext cx="5608320" cy="6858000"/>
          </a:xfrm>
          <a:custGeom>
            <a:avLst/>
            <a:gdLst>
              <a:gd name="connsiteX0" fmla="*/ 0 w 5608320"/>
              <a:gd name="connsiteY0" fmla="*/ 0 h 6858000"/>
              <a:gd name="connsiteX1" fmla="*/ 3964238 w 5608320"/>
              <a:gd name="connsiteY1" fmla="*/ 0 h 6858000"/>
              <a:gd name="connsiteX2" fmla="*/ 3964238 w 5608320"/>
              <a:gd name="connsiteY2" fmla="*/ 1235291 h 6858000"/>
              <a:gd name="connsiteX3" fmla="*/ 5199530 w 5608320"/>
              <a:gd name="connsiteY3" fmla="*/ 1235291 h 6858000"/>
              <a:gd name="connsiteX4" fmla="*/ 5199530 w 5608320"/>
              <a:gd name="connsiteY4" fmla="*/ 0 h 6858000"/>
              <a:gd name="connsiteX5" fmla="*/ 5608320 w 5608320"/>
              <a:gd name="connsiteY5" fmla="*/ 0 h 6858000"/>
              <a:gd name="connsiteX6" fmla="*/ 5608320 w 5608320"/>
              <a:gd name="connsiteY6" fmla="*/ 6858000 h 6858000"/>
              <a:gd name="connsiteX7" fmla="*/ 0 w 560832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8320" h="6858000">
                <a:moveTo>
                  <a:pt x="0" y="0"/>
                </a:moveTo>
                <a:lnTo>
                  <a:pt x="3964238" y="0"/>
                </a:lnTo>
                <a:lnTo>
                  <a:pt x="3964238" y="1235291"/>
                </a:lnTo>
                <a:lnTo>
                  <a:pt x="5199530" y="1235291"/>
                </a:lnTo>
                <a:lnTo>
                  <a:pt x="5199530" y="0"/>
                </a:lnTo>
                <a:lnTo>
                  <a:pt x="5608320" y="0"/>
                </a:lnTo>
                <a:lnTo>
                  <a:pt x="560832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C392A5-765C-472A-A5C1-496A24368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862" y="691731"/>
            <a:ext cx="5545137" cy="3352800"/>
          </a:xfrm>
        </p:spPr>
        <p:txBody>
          <a:bodyPr anchor="b">
            <a:normAutofit/>
          </a:bodyPr>
          <a:lstStyle>
            <a:lvl1pPr algn="ctr">
              <a:defRPr sz="48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EB40E7-E92A-48FD-BB39-433F348F7B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300" y="4141686"/>
            <a:ext cx="5532371" cy="670242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65">
            <a:extLst>
              <a:ext uri="{FF2B5EF4-FFF2-40B4-BE49-F238E27FC236}">
                <a16:creationId xmlns:a16="http://schemas.microsoft.com/office/drawing/2014/main" id="{A70B77C3-06BC-4CCA-9201-343AA42292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10" name="Holder 6">
            <a:extLst>
              <a:ext uri="{FF2B5EF4-FFF2-40B4-BE49-F238E27FC236}">
                <a16:creationId xmlns:a16="http://schemas.microsoft.com/office/drawing/2014/main" id="{B6BF5277-C209-4FD9-A258-91629815C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bg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260941259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1B77489-BEF4-4376-B294-7DA0FE25A84A}"/>
              </a:ext>
            </a:extLst>
          </p:cNvPr>
          <p:cNvSpPr/>
          <p:nvPr userDrawn="1"/>
        </p:nvSpPr>
        <p:spPr>
          <a:xfrm>
            <a:off x="0" y="0"/>
            <a:ext cx="6096000" cy="69494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>
              <a:solidFill>
                <a:schemeClr val="bg1"/>
              </a:solidFill>
            </a:endParaRPr>
          </a:p>
        </p:txBody>
      </p:sp>
      <p:pic>
        <p:nvPicPr>
          <p:cNvPr id="7" name="Picture 65">
            <a:extLst>
              <a:ext uri="{FF2B5EF4-FFF2-40B4-BE49-F238E27FC236}">
                <a16:creationId xmlns:a16="http://schemas.microsoft.com/office/drawing/2014/main" id="{1F7A8AB7-7C4F-4DDB-9EAB-1F2512D17E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C392A5-765C-472A-A5C1-496A24368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0" y="3429000"/>
            <a:ext cx="6096000" cy="1838960"/>
          </a:xfrm>
        </p:spPr>
        <p:txBody>
          <a:bodyPr anchor="b">
            <a:normAutofit/>
          </a:bodyPr>
          <a:lstStyle>
            <a:lvl1pPr algn="ctr">
              <a:defRPr sz="4400" cap="all" baseline="0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EB40E7-E92A-48FD-BB39-433F348F7B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5274526"/>
            <a:ext cx="6096000" cy="670242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84D779-5475-4906-9268-2574BAEEE66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6887" y="467421"/>
            <a:ext cx="4801716" cy="6200273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4E0A3EB-182A-4358-A4C5-335AD745ED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543" y="2030257"/>
            <a:ext cx="4394915" cy="1398743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D4D1E4F0-CC29-498F-A5B5-955EDBAB1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385101251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Oran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42774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365872D-28A3-451D-9415-44DEA5D62F82}"/>
              </a:ext>
            </a:extLst>
          </p:cNvPr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A8786B-8853-4504-B08A-C49B5EEA0D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A8786B-8853-4504-B08A-C49B5EEA0D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D1D1A98-ED65-42F0-8D20-F2204D6ED712}"/>
              </a:ext>
            </a:extLst>
          </p:cNvPr>
          <p:cNvCxnSpPr>
            <a:cxnSpLocks/>
          </p:cNvCxnSpPr>
          <p:nvPr userDrawn="1"/>
        </p:nvCxnSpPr>
        <p:spPr>
          <a:xfrm>
            <a:off x="0" y="1033522"/>
            <a:ext cx="12192000" cy="0"/>
          </a:xfrm>
          <a:prstGeom prst="line">
            <a:avLst/>
          </a:prstGeom>
          <a:ln w="381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147DE0-9D6C-48A4-B941-C12DF1E216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128249" y="-2"/>
            <a:ext cx="2063751" cy="6858002"/>
          </a:xfrm>
          <a:prstGeom prst="rect">
            <a:avLst/>
          </a:prstGeom>
          <a:solidFill>
            <a:srgbClr val="CABEA2"/>
          </a:solidFill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6C376A-7261-465B-A334-F3DFC2F69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598" y="542586"/>
            <a:ext cx="9600513" cy="322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2E6E89F5-E2BD-4EDA-BD26-564E8BA9CC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599" y="1447800"/>
            <a:ext cx="7583830" cy="505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AU" smtClean="0">
                <a:solidFill>
                  <a:schemeClr val="tx1"/>
                </a:solidFill>
              </a:defRPr>
            </a:lvl1pPr>
            <a:lvl2pPr marL="237061" indent="-237061">
              <a:buClr>
                <a:schemeClr val="accent1"/>
              </a:buClr>
              <a:buFont typeface="Wingdings" panose="05000000000000000000" pitchFamily="2" charset="2"/>
              <a:buChar char="§"/>
              <a:defRPr lang="en-AU" smtClean="0"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 lang="en-AU" smtClean="0"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 lang="en-AU" smtClean="0"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D265E4C7-2B9A-4247-9DF7-790023E421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1598" y="206696"/>
            <a:ext cx="9600513" cy="3181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lang="en-GB" sz="1800" b="1" kern="0" cap="none" dirty="0">
                <a:solidFill>
                  <a:schemeClr val="accent6"/>
                </a:solidFill>
                <a:latin typeface="MS Leeds Bold" panose="0203070409050B020304" pitchFamily="18" charset="0"/>
              </a:defRPr>
            </a:lvl1pPr>
          </a:lstStyle>
          <a:p>
            <a:pPr lvl="0" latinLnBrk="0"/>
            <a:r>
              <a:rPr lang="en-US"/>
              <a:t>Edit master text styles</a:t>
            </a:r>
            <a:endParaRPr lang="en-GB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BBF787E-8BD5-4862-876E-0018D70FCD21}"/>
              </a:ext>
            </a:extLst>
          </p:cNvPr>
          <p:cNvGrpSpPr/>
          <p:nvPr userDrawn="1"/>
        </p:nvGrpSpPr>
        <p:grpSpPr>
          <a:xfrm>
            <a:off x="10542478" y="-1"/>
            <a:ext cx="1235293" cy="1235293"/>
            <a:chOff x="10593778" y="-1"/>
            <a:chExt cx="1339751" cy="1339751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57E49F0-2926-4AA0-99C6-886267101630}"/>
                </a:ext>
              </a:extLst>
            </p:cNvPr>
            <p:cNvSpPr/>
            <p:nvPr/>
          </p:nvSpPr>
          <p:spPr>
            <a:xfrm>
              <a:off x="10593778" y="-1"/>
              <a:ext cx="1339751" cy="1339751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err="1">
                <a:solidFill>
                  <a:schemeClr val="bg1"/>
                </a:solidFill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4BE50BDB-232C-4333-998A-44E722D4199C}"/>
                </a:ext>
              </a:extLst>
            </p:cNvPr>
            <p:cNvGrpSpPr/>
            <p:nvPr userDrawn="1"/>
          </p:nvGrpSpPr>
          <p:grpSpPr>
            <a:xfrm>
              <a:off x="10761578" y="392408"/>
              <a:ext cx="1004971" cy="635474"/>
              <a:chOff x="11002329" y="232067"/>
              <a:chExt cx="1021396" cy="645860"/>
            </a:xfrm>
          </p:grpSpPr>
          <p:grpSp>
            <p:nvGrpSpPr>
              <p:cNvPr id="58" name="Group 7">
                <a:extLst>
                  <a:ext uri="{FF2B5EF4-FFF2-40B4-BE49-F238E27FC236}">
                    <a16:creationId xmlns:a16="http://schemas.microsoft.com/office/drawing/2014/main" id="{353DB577-4827-449A-9CA8-F07DE404A2F1}"/>
                  </a:ext>
                </a:extLst>
              </p:cNvPr>
              <p:cNvGrpSpPr/>
              <p:nvPr userDrawn="1"/>
            </p:nvGrpSpPr>
            <p:grpSpPr>
              <a:xfrm>
                <a:off x="11232971" y="232067"/>
                <a:ext cx="565317" cy="337992"/>
                <a:chOff x="-1106488" y="-874713"/>
                <a:chExt cx="14401801" cy="8610601"/>
              </a:xfrm>
              <a:solidFill>
                <a:schemeClr val="bg1"/>
              </a:solidFill>
            </p:grpSpPr>
            <p:sp>
              <p:nvSpPr>
                <p:cNvPr id="60" name="Freeform 5">
                  <a:extLst>
                    <a:ext uri="{FF2B5EF4-FFF2-40B4-BE49-F238E27FC236}">
                      <a16:creationId xmlns:a16="http://schemas.microsoft.com/office/drawing/2014/main" id="{DC902095-CFC0-496D-BC8C-1D610C262B4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297112" y="6613525"/>
                  <a:ext cx="731838" cy="1108075"/>
                </a:xfrm>
                <a:custGeom>
                  <a:avLst/>
                  <a:gdLst>
                    <a:gd name="T0" fmla="*/ 0 w 461"/>
                    <a:gd name="T1" fmla="*/ 0 h 698"/>
                    <a:gd name="T2" fmla="*/ 444 w 461"/>
                    <a:gd name="T3" fmla="*/ 0 h 698"/>
                    <a:gd name="T4" fmla="*/ 444 w 461"/>
                    <a:gd name="T5" fmla="*/ 88 h 698"/>
                    <a:gd name="T6" fmla="*/ 92 w 461"/>
                    <a:gd name="T7" fmla="*/ 88 h 698"/>
                    <a:gd name="T8" fmla="*/ 92 w 461"/>
                    <a:gd name="T9" fmla="*/ 296 h 698"/>
                    <a:gd name="T10" fmla="*/ 406 w 461"/>
                    <a:gd name="T11" fmla="*/ 296 h 698"/>
                    <a:gd name="T12" fmla="*/ 406 w 461"/>
                    <a:gd name="T13" fmla="*/ 383 h 698"/>
                    <a:gd name="T14" fmla="*/ 92 w 461"/>
                    <a:gd name="T15" fmla="*/ 383 h 698"/>
                    <a:gd name="T16" fmla="*/ 92 w 461"/>
                    <a:gd name="T17" fmla="*/ 610 h 698"/>
                    <a:gd name="T18" fmla="*/ 461 w 461"/>
                    <a:gd name="T19" fmla="*/ 610 h 698"/>
                    <a:gd name="T20" fmla="*/ 461 w 461"/>
                    <a:gd name="T21" fmla="*/ 698 h 698"/>
                    <a:gd name="T22" fmla="*/ 0 w 461"/>
                    <a:gd name="T23" fmla="*/ 698 h 698"/>
                    <a:gd name="T24" fmla="*/ 0 w 461"/>
                    <a:gd name="T25" fmla="*/ 0 h 6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1" h="698">
                      <a:moveTo>
                        <a:pt x="0" y="0"/>
                      </a:moveTo>
                      <a:lnTo>
                        <a:pt x="444" y="0"/>
                      </a:lnTo>
                      <a:lnTo>
                        <a:pt x="444" y="88"/>
                      </a:lnTo>
                      <a:lnTo>
                        <a:pt x="92" y="88"/>
                      </a:lnTo>
                      <a:lnTo>
                        <a:pt x="92" y="296"/>
                      </a:lnTo>
                      <a:lnTo>
                        <a:pt x="406" y="296"/>
                      </a:lnTo>
                      <a:lnTo>
                        <a:pt x="406" y="383"/>
                      </a:lnTo>
                      <a:lnTo>
                        <a:pt x="92" y="383"/>
                      </a:lnTo>
                      <a:lnTo>
                        <a:pt x="92" y="610"/>
                      </a:lnTo>
                      <a:lnTo>
                        <a:pt x="461" y="610"/>
                      </a:lnTo>
                      <a:lnTo>
                        <a:pt x="461" y="698"/>
                      </a:lnTo>
                      <a:lnTo>
                        <a:pt x="0" y="69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  <p:sp>
              <p:nvSpPr>
                <p:cNvPr id="61" name="Freeform 6">
                  <a:extLst>
                    <a:ext uri="{FF2B5EF4-FFF2-40B4-BE49-F238E27FC236}">
                      <a16:creationId xmlns:a16="http://schemas.microsoft.com/office/drawing/2014/main" id="{9ED05C97-2FDE-416D-AD48-5DE01D0FF8F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3306762" y="6599238"/>
                  <a:ext cx="820738" cy="1136650"/>
                </a:xfrm>
                <a:custGeom>
                  <a:avLst/>
                  <a:gdLst>
                    <a:gd name="T0" fmla="*/ 216 w 219"/>
                    <a:gd name="T1" fmla="*/ 72 h 303"/>
                    <a:gd name="T2" fmla="*/ 182 w 219"/>
                    <a:gd name="T3" fmla="*/ 85 h 303"/>
                    <a:gd name="T4" fmla="*/ 111 w 219"/>
                    <a:gd name="T5" fmla="*/ 35 h 303"/>
                    <a:gd name="T6" fmla="*/ 55 w 219"/>
                    <a:gd name="T7" fmla="*/ 82 h 303"/>
                    <a:gd name="T8" fmla="*/ 219 w 219"/>
                    <a:gd name="T9" fmla="*/ 217 h 303"/>
                    <a:gd name="T10" fmla="*/ 114 w 219"/>
                    <a:gd name="T11" fmla="*/ 303 h 303"/>
                    <a:gd name="T12" fmla="*/ 0 w 219"/>
                    <a:gd name="T13" fmla="*/ 232 h 303"/>
                    <a:gd name="T14" fmla="*/ 32 w 219"/>
                    <a:gd name="T15" fmla="*/ 212 h 303"/>
                    <a:gd name="T16" fmla="*/ 115 w 219"/>
                    <a:gd name="T17" fmla="*/ 267 h 303"/>
                    <a:gd name="T18" fmla="*/ 181 w 219"/>
                    <a:gd name="T19" fmla="*/ 216 h 303"/>
                    <a:gd name="T20" fmla="*/ 16 w 219"/>
                    <a:gd name="T21" fmla="*/ 84 h 303"/>
                    <a:gd name="T22" fmla="*/ 111 w 219"/>
                    <a:gd name="T23" fmla="*/ 0 h 303"/>
                    <a:gd name="T24" fmla="*/ 216 w 219"/>
                    <a:gd name="T25" fmla="*/ 72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19" h="303">
                      <a:moveTo>
                        <a:pt x="216" y="72"/>
                      </a:moveTo>
                      <a:cubicBezTo>
                        <a:pt x="182" y="85"/>
                        <a:pt x="182" y="85"/>
                        <a:pt x="182" y="85"/>
                      </a:cubicBezTo>
                      <a:cubicBezTo>
                        <a:pt x="172" y="54"/>
                        <a:pt x="143" y="35"/>
                        <a:pt x="111" y="35"/>
                      </a:cubicBezTo>
                      <a:cubicBezTo>
                        <a:pt x="77" y="35"/>
                        <a:pt x="55" y="53"/>
                        <a:pt x="55" y="82"/>
                      </a:cubicBezTo>
                      <a:cubicBezTo>
                        <a:pt x="55" y="148"/>
                        <a:pt x="219" y="112"/>
                        <a:pt x="219" y="217"/>
                      </a:cubicBezTo>
                      <a:cubicBezTo>
                        <a:pt x="219" y="264"/>
                        <a:pt x="177" y="303"/>
                        <a:pt x="114" y="303"/>
                      </a:cubicBezTo>
                      <a:cubicBezTo>
                        <a:pt x="60" y="303"/>
                        <a:pt x="22" y="279"/>
                        <a:pt x="0" y="232"/>
                      </a:cubicBezTo>
                      <a:cubicBezTo>
                        <a:pt x="32" y="212"/>
                        <a:pt x="32" y="212"/>
                        <a:pt x="32" y="212"/>
                      </a:cubicBezTo>
                      <a:cubicBezTo>
                        <a:pt x="45" y="241"/>
                        <a:pt x="66" y="267"/>
                        <a:pt x="115" y="267"/>
                      </a:cubicBezTo>
                      <a:cubicBezTo>
                        <a:pt x="157" y="267"/>
                        <a:pt x="181" y="246"/>
                        <a:pt x="181" y="216"/>
                      </a:cubicBezTo>
                      <a:cubicBezTo>
                        <a:pt x="181" y="153"/>
                        <a:pt x="16" y="184"/>
                        <a:pt x="16" y="84"/>
                      </a:cubicBezTo>
                      <a:cubicBezTo>
                        <a:pt x="16" y="22"/>
                        <a:pt x="71" y="0"/>
                        <a:pt x="111" y="0"/>
                      </a:cubicBezTo>
                      <a:cubicBezTo>
                        <a:pt x="156" y="0"/>
                        <a:pt x="200" y="21"/>
                        <a:pt x="216" y="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  <p:sp>
              <p:nvSpPr>
                <p:cNvPr id="62" name="Freeform 7">
                  <a:extLst>
                    <a:ext uri="{FF2B5EF4-FFF2-40B4-BE49-F238E27FC236}">
                      <a16:creationId xmlns:a16="http://schemas.microsoft.com/office/drawing/2014/main" id="{D0B25992-DE2F-4C26-9357-CEE699BAE7B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349750" y="6613525"/>
                  <a:ext cx="862013" cy="1108075"/>
                </a:xfrm>
                <a:custGeom>
                  <a:avLst/>
                  <a:gdLst>
                    <a:gd name="T0" fmla="*/ 0 w 543"/>
                    <a:gd name="T1" fmla="*/ 0 h 698"/>
                    <a:gd name="T2" fmla="*/ 543 w 543"/>
                    <a:gd name="T3" fmla="*/ 0 h 698"/>
                    <a:gd name="T4" fmla="*/ 543 w 543"/>
                    <a:gd name="T5" fmla="*/ 88 h 698"/>
                    <a:gd name="T6" fmla="*/ 316 w 543"/>
                    <a:gd name="T7" fmla="*/ 88 h 698"/>
                    <a:gd name="T8" fmla="*/ 316 w 543"/>
                    <a:gd name="T9" fmla="*/ 698 h 698"/>
                    <a:gd name="T10" fmla="*/ 227 w 543"/>
                    <a:gd name="T11" fmla="*/ 698 h 698"/>
                    <a:gd name="T12" fmla="*/ 227 w 543"/>
                    <a:gd name="T13" fmla="*/ 88 h 698"/>
                    <a:gd name="T14" fmla="*/ 0 w 543"/>
                    <a:gd name="T15" fmla="*/ 88 h 698"/>
                    <a:gd name="T16" fmla="*/ 0 w 543"/>
                    <a:gd name="T17" fmla="*/ 0 h 6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43" h="698">
                      <a:moveTo>
                        <a:pt x="0" y="0"/>
                      </a:moveTo>
                      <a:lnTo>
                        <a:pt x="543" y="0"/>
                      </a:lnTo>
                      <a:lnTo>
                        <a:pt x="543" y="88"/>
                      </a:lnTo>
                      <a:lnTo>
                        <a:pt x="316" y="88"/>
                      </a:lnTo>
                      <a:lnTo>
                        <a:pt x="316" y="698"/>
                      </a:lnTo>
                      <a:lnTo>
                        <a:pt x="227" y="698"/>
                      </a:lnTo>
                      <a:lnTo>
                        <a:pt x="227" y="88"/>
                      </a:lnTo>
                      <a:lnTo>
                        <a:pt x="0" y="8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  <p:sp>
              <p:nvSpPr>
                <p:cNvPr id="63" name="Freeform 8">
                  <a:extLst>
                    <a:ext uri="{FF2B5EF4-FFF2-40B4-BE49-F238E27FC236}">
                      <a16:creationId xmlns:a16="http://schemas.microsoft.com/office/drawing/2014/main" id="{8D05EC5C-AD5A-42C5-91FA-C01A25489DC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395912" y="7540625"/>
                  <a:ext cx="184150" cy="188913"/>
                </a:xfrm>
                <a:custGeom>
                  <a:avLst/>
                  <a:gdLst>
                    <a:gd name="T0" fmla="*/ 49 w 49"/>
                    <a:gd name="T1" fmla="*/ 25 h 50"/>
                    <a:gd name="T2" fmla="*/ 25 w 49"/>
                    <a:gd name="T3" fmla="*/ 50 h 50"/>
                    <a:gd name="T4" fmla="*/ 0 w 49"/>
                    <a:gd name="T5" fmla="*/ 25 h 50"/>
                    <a:gd name="T6" fmla="*/ 25 w 49"/>
                    <a:gd name="T7" fmla="*/ 0 h 50"/>
                    <a:gd name="T8" fmla="*/ 49 w 49"/>
                    <a:gd name="T9" fmla="*/ 25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50">
                      <a:moveTo>
                        <a:pt x="49" y="25"/>
                      </a:moveTo>
                      <a:cubicBezTo>
                        <a:pt x="49" y="40"/>
                        <a:pt x="39" y="50"/>
                        <a:pt x="25" y="50"/>
                      </a:cubicBezTo>
                      <a:cubicBezTo>
                        <a:pt x="10" y="50"/>
                        <a:pt x="0" y="40"/>
                        <a:pt x="0" y="25"/>
                      </a:cubicBezTo>
                      <a:cubicBezTo>
                        <a:pt x="0" y="12"/>
                        <a:pt x="10" y="0"/>
                        <a:pt x="25" y="0"/>
                      </a:cubicBezTo>
                      <a:cubicBezTo>
                        <a:pt x="39" y="0"/>
                        <a:pt x="49" y="12"/>
                        <a:pt x="49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  <p:sp>
              <p:nvSpPr>
                <p:cNvPr id="64" name="Freeform 9">
                  <a:extLst>
                    <a:ext uri="{FF2B5EF4-FFF2-40B4-BE49-F238E27FC236}">
                      <a16:creationId xmlns:a16="http://schemas.microsoft.com/office/drawing/2014/main" id="{CA76EEF3-31FB-4806-9254-2C5D73C0DDD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6405563" y="6613525"/>
                  <a:ext cx="280988" cy="1108075"/>
                </a:xfrm>
                <a:custGeom>
                  <a:avLst/>
                  <a:gdLst>
                    <a:gd name="T0" fmla="*/ 0 w 177"/>
                    <a:gd name="T1" fmla="*/ 0 h 698"/>
                    <a:gd name="T2" fmla="*/ 177 w 177"/>
                    <a:gd name="T3" fmla="*/ 0 h 698"/>
                    <a:gd name="T4" fmla="*/ 177 w 177"/>
                    <a:gd name="T5" fmla="*/ 698 h 698"/>
                    <a:gd name="T6" fmla="*/ 87 w 177"/>
                    <a:gd name="T7" fmla="*/ 698 h 698"/>
                    <a:gd name="T8" fmla="*/ 87 w 177"/>
                    <a:gd name="T9" fmla="*/ 81 h 698"/>
                    <a:gd name="T10" fmla="*/ 0 w 177"/>
                    <a:gd name="T11" fmla="*/ 81 h 698"/>
                    <a:gd name="T12" fmla="*/ 0 w 177"/>
                    <a:gd name="T13" fmla="*/ 0 h 6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7" h="698">
                      <a:moveTo>
                        <a:pt x="0" y="0"/>
                      </a:moveTo>
                      <a:lnTo>
                        <a:pt x="177" y="0"/>
                      </a:lnTo>
                      <a:lnTo>
                        <a:pt x="177" y="698"/>
                      </a:lnTo>
                      <a:lnTo>
                        <a:pt x="87" y="698"/>
                      </a:lnTo>
                      <a:lnTo>
                        <a:pt x="87" y="81"/>
                      </a:lnTo>
                      <a:lnTo>
                        <a:pt x="0" y="8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  <p:sp>
              <p:nvSpPr>
                <p:cNvPr id="65" name="Freeform 10">
                  <a:extLst>
                    <a:ext uri="{FF2B5EF4-FFF2-40B4-BE49-F238E27FC236}">
                      <a16:creationId xmlns:a16="http://schemas.microsoft.com/office/drawing/2014/main" id="{DDB89217-2172-419D-8B2F-C9EDC019AB77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7080250" y="6602413"/>
                  <a:ext cx="777875" cy="1130300"/>
                </a:xfrm>
                <a:custGeom>
                  <a:avLst/>
                  <a:gdLst>
                    <a:gd name="T0" fmla="*/ 198 w 207"/>
                    <a:gd name="T1" fmla="*/ 79 h 301"/>
                    <a:gd name="T2" fmla="*/ 158 w 207"/>
                    <a:gd name="T3" fmla="*/ 144 h 301"/>
                    <a:gd name="T4" fmla="*/ 207 w 207"/>
                    <a:gd name="T5" fmla="*/ 213 h 301"/>
                    <a:gd name="T6" fmla="*/ 104 w 207"/>
                    <a:gd name="T7" fmla="*/ 301 h 301"/>
                    <a:gd name="T8" fmla="*/ 0 w 207"/>
                    <a:gd name="T9" fmla="*/ 213 h 301"/>
                    <a:gd name="T10" fmla="*/ 49 w 207"/>
                    <a:gd name="T11" fmla="*/ 144 h 301"/>
                    <a:gd name="T12" fmla="*/ 10 w 207"/>
                    <a:gd name="T13" fmla="*/ 79 h 301"/>
                    <a:gd name="T14" fmla="*/ 104 w 207"/>
                    <a:gd name="T15" fmla="*/ 0 h 301"/>
                    <a:gd name="T16" fmla="*/ 198 w 207"/>
                    <a:gd name="T17" fmla="*/ 79 h 301"/>
                    <a:gd name="T18" fmla="*/ 169 w 207"/>
                    <a:gd name="T19" fmla="*/ 213 h 301"/>
                    <a:gd name="T20" fmla="*/ 104 w 207"/>
                    <a:gd name="T21" fmla="*/ 160 h 301"/>
                    <a:gd name="T22" fmla="*/ 39 w 207"/>
                    <a:gd name="T23" fmla="*/ 213 h 301"/>
                    <a:gd name="T24" fmla="*/ 104 w 207"/>
                    <a:gd name="T25" fmla="*/ 269 h 301"/>
                    <a:gd name="T26" fmla="*/ 169 w 207"/>
                    <a:gd name="T27" fmla="*/ 213 h 301"/>
                    <a:gd name="T28" fmla="*/ 161 w 207"/>
                    <a:gd name="T29" fmla="*/ 81 h 301"/>
                    <a:gd name="T30" fmla="*/ 104 w 207"/>
                    <a:gd name="T31" fmla="*/ 32 h 301"/>
                    <a:gd name="T32" fmla="*/ 46 w 207"/>
                    <a:gd name="T33" fmla="*/ 81 h 301"/>
                    <a:gd name="T34" fmla="*/ 104 w 207"/>
                    <a:gd name="T35" fmla="*/ 128 h 301"/>
                    <a:gd name="T36" fmla="*/ 161 w 207"/>
                    <a:gd name="T37" fmla="*/ 81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07" h="301">
                      <a:moveTo>
                        <a:pt x="198" y="79"/>
                      </a:moveTo>
                      <a:cubicBezTo>
                        <a:pt x="198" y="109"/>
                        <a:pt x="183" y="130"/>
                        <a:pt x="158" y="144"/>
                      </a:cubicBezTo>
                      <a:cubicBezTo>
                        <a:pt x="185" y="156"/>
                        <a:pt x="207" y="178"/>
                        <a:pt x="207" y="213"/>
                      </a:cubicBezTo>
                      <a:cubicBezTo>
                        <a:pt x="207" y="264"/>
                        <a:pt x="170" y="301"/>
                        <a:pt x="104" y="301"/>
                      </a:cubicBezTo>
                      <a:cubicBezTo>
                        <a:pt x="38" y="301"/>
                        <a:pt x="0" y="265"/>
                        <a:pt x="0" y="213"/>
                      </a:cubicBezTo>
                      <a:cubicBezTo>
                        <a:pt x="0" y="178"/>
                        <a:pt x="23" y="156"/>
                        <a:pt x="49" y="144"/>
                      </a:cubicBezTo>
                      <a:cubicBezTo>
                        <a:pt x="24" y="130"/>
                        <a:pt x="10" y="109"/>
                        <a:pt x="10" y="79"/>
                      </a:cubicBezTo>
                      <a:cubicBezTo>
                        <a:pt x="10" y="27"/>
                        <a:pt x="52" y="0"/>
                        <a:pt x="104" y="0"/>
                      </a:cubicBezTo>
                      <a:cubicBezTo>
                        <a:pt x="155" y="0"/>
                        <a:pt x="198" y="27"/>
                        <a:pt x="198" y="79"/>
                      </a:cubicBezTo>
                      <a:close/>
                      <a:moveTo>
                        <a:pt x="169" y="213"/>
                      </a:moveTo>
                      <a:cubicBezTo>
                        <a:pt x="169" y="178"/>
                        <a:pt x="138" y="160"/>
                        <a:pt x="104" y="160"/>
                      </a:cubicBezTo>
                      <a:cubicBezTo>
                        <a:pt x="70" y="160"/>
                        <a:pt x="39" y="178"/>
                        <a:pt x="39" y="213"/>
                      </a:cubicBezTo>
                      <a:cubicBezTo>
                        <a:pt x="39" y="250"/>
                        <a:pt x="67" y="269"/>
                        <a:pt x="104" y="269"/>
                      </a:cubicBezTo>
                      <a:cubicBezTo>
                        <a:pt x="140" y="269"/>
                        <a:pt x="169" y="250"/>
                        <a:pt x="169" y="213"/>
                      </a:cubicBezTo>
                      <a:close/>
                      <a:moveTo>
                        <a:pt x="161" y="81"/>
                      </a:moveTo>
                      <a:cubicBezTo>
                        <a:pt x="161" y="50"/>
                        <a:pt x="141" y="32"/>
                        <a:pt x="104" y="32"/>
                      </a:cubicBezTo>
                      <a:cubicBezTo>
                        <a:pt x="67" y="32"/>
                        <a:pt x="46" y="50"/>
                        <a:pt x="46" y="81"/>
                      </a:cubicBezTo>
                      <a:cubicBezTo>
                        <a:pt x="46" y="110"/>
                        <a:pt x="73" y="128"/>
                        <a:pt x="104" y="128"/>
                      </a:cubicBezTo>
                      <a:cubicBezTo>
                        <a:pt x="133" y="128"/>
                        <a:pt x="161" y="113"/>
                        <a:pt x="161" y="8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  <p:sp>
              <p:nvSpPr>
                <p:cNvPr id="66" name="Freeform 11">
                  <a:extLst>
                    <a:ext uri="{FF2B5EF4-FFF2-40B4-BE49-F238E27FC236}">
                      <a16:creationId xmlns:a16="http://schemas.microsoft.com/office/drawing/2014/main" id="{C4D60A4D-A79C-4B4B-94DD-9C59A0B29EBA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8172450" y="6602413"/>
                  <a:ext cx="777875" cy="1130300"/>
                </a:xfrm>
                <a:custGeom>
                  <a:avLst/>
                  <a:gdLst>
                    <a:gd name="T0" fmla="*/ 198 w 207"/>
                    <a:gd name="T1" fmla="*/ 79 h 301"/>
                    <a:gd name="T2" fmla="*/ 158 w 207"/>
                    <a:gd name="T3" fmla="*/ 144 h 301"/>
                    <a:gd name="T4" fmla="*/ 207 w 207"/>
                    <a:gd name="T5" fmla="*/ 213 h 301"/>
                    <a:gd name="T6" fmla="*/ 104 w 207"/>
                    <a:gd name="T7" fmla="*/ 301 h 301"/>
                    <a:gd name="T8" fmla="*/ 0 w 207"/>
                    <a:gd name="T9" fmla="*/ 213 h 301"/>
                    <a:gd name="T10" fmla="*/ 49 w 207"/>
                    <a:gd name="T11" fmla="*/ 144 h 301"/>
                    <a:gd name="T12" fmla="*/ 10 w 207"/>
                    <a:gd name="T13" fmla="*/ 79 h 301"/>
                    <a:gd name="T14" fmla="*/ 104 w 207"/>
                    <a:gd name="T15" fmla="*/ 0 h 301"/>
                    <a:gd name="T16" fmla="*/ 198 w 207"/>
                    <a:gd name="T17" fmla="*/ 79 h 301"/>
                    <a:gd name="T18" fmla="*/ 169 w 207"/>
                    <a:gd name="T19" fmla="*/ 213 h 301"/>
                    <a:gd name="T20" fmla="*/ 104 w 207"/>
                    <a:gd name="T21" fmla="*/ 160 h 301"/>
                    <a:gd name="T22" fmla="*/ 39 w 207"/>
                    <a:gd name="T23" fmla="*/ 213 h 301"/>
                    <a:gd name="T24" fmla="*/ 104 w 207"/>
                    <a:gd name="T25" fmla="*/ 269 h 301"/>
                    <a:gd name="T26" fmla="*/ 169 w 207"/>
                    <a:gd name="T27" fmla="*/ 213 h 301"/>
                    <a:gd name="T28" fmla="*/ 161 w 207"/>
                    <a:gd name="T29" fmla="*/ 81 h 301"/>
                    <a:gd name="T30" fmla="*/ 104 w 207"/>
                    <a:gd name="T31" fmla="*/ 32 h 301"/>
                    <a:gd name="T32" fmla="*/ 46 w 207"/>
                    <a:gd name="T33" fmla="*/ 81 h 301"/>
                    <a:gd name="T34" fmla="*/ 104 w 207"/>
                    <a:gd name="T35" fmla="*/ 128 h 301"/>
                    <a:gd name="T36" fmla="*/ 161 w 207"/>
                    <a:gd name="T37" fmla="*/ 81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07" h="301">
                      <a:moveTo>
                        <a:pt x="198" y="79"/>
                      </a:moveTo>
                      <a:cubicBezTo>
                        <a:pt x="198" y="109"/>
                        <a:pt x="183" y="130"/>
                        <a:pt x="158" y="144"/>
                      </a:cubicBezTo>
                      <a:cubicBezTo>
                        <a:pt x="185" y="156"/>
                        <a:pt x="207" y="178"/>
                        <a:pt x="207" y="213"/>
                      </a:cubicBezTo>
                      <a:cubicBezTo>
                        <a:pt x="207" y="264"/>
                        <a:pt x="170" y="301"/>
                        <a:pt x="104" y="301"/>
                      </a:cubicBezTo>
                      <a:cubicBezTo>
                        <a:pt x="38" y="301"/>
                        <a:pt x="0" y="265"/>
                        <a:pt x="0" y="213"/>
                      </a:cubicBezTo>
                      <a:cubicBezTo>
                        <a:pt x="0" y="178"/>
                        <a:pt x="23" y="156"/>
                        <a:pt x="49" y="144"/>
                      </a:cubicBezTo>
                      <a:cubicBezTo>
                        <a:pt x="24" y="130"/>
                        <a:pt x="10" y="109"/>
                        <a:pt x="10" y="79"/>
                      </a:cubicBezTo>
                      <a:cubicBezTo>
                        <a:pt x="10" y="27"/>
                        <a:pt x="52" y="0"/>
                        <a:pt x="104" y="0"/>
                      </a:cubicBezTo>
                      <a:cubicBezTo>
                        <a:pt x="155" y="0"/>
                        <a:pt x="198" y="27"/>
                        <a:pt x="198" y="79"/>
                      </a:cubicBezTo>
                      <a:close/>
                      <a:moveTo>
                        <a:pt x="169" y="213"/>
                      </a:moveTo>
                      <a:cubicBezTo>
                        <a:pt x="169" y="178"/>
                        <a:pt x="138" y="160"/>
                        <a:pt x="104" y="160"/>
                      </a:cubicBezTo>
                      <a:cubicBezTo>
                        <a:pt x="70" y="160"/>
                        <a:pt x="39" y="178"/>
                        <a:pt x="39" y="213"/>
                      </a:cubicBezTo>
                      <a:cubicBezTo>
                        <a:pt x="39" y="250"/>
                        <a:pt x="67" y="269"/>
                        <a:pt x="104" y="269"/>
                      </a:cubicBezTo>
                      <a:cubicBezTo>
                        <a:pt x="140" y="269"/>
                        <a:pt x="169" y="250"/>
                        <a:pt x="169" y="213"/>
                      </a:cubicBezTo>
                      <a:close/>
                      <a:moveTo>
                        <a:pt x="161" y="81"/>
                      </a:moveTo>
                      <a:cubicBezTo>
                        <a:pt x="161" y="50"/>
                        <a:pt x="141" y="32"/>
                        <a:pt x="104" y="32"/>
                      </a:cubicBezTo>
                      <a:cubicBezTo>
                        <a:pt x="67" y="32"/>
                        <a:pt x="46" y="50"/>
                        <a:pt x="46" y="81"/>
                      </a:cubicBezTo>
                      <a:cubicBezTo>
                        <a:pt x="46" y="110"/>
                        <a:pt x="73" y="128"/>
                        <a:pt x="104" y="128"/>
                      </a:cubicBezTo>
                      <a:cubicBezTo>
                        <a:pt x="133" y="128"/>
                        <a:pt x="161" y="113"/>
                        <a:pt x="161" y="8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  <p:sp>
              <p:nvSpPr>
                <p:cNvPr id="67" name="Freeform 12">
                  <a:extLst>
                    <a:ext uri="{FF2B5EF4-FFF2-40B4-BE49-F238E27FC236}">
                      <a16:creationId xmlns:a16="http://schemas.microsoft.com/office/drawing/2014/main" id="{B7AA90B9-925C-4EE9-A3EF-CABA7275F97E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9212263" y="6613525"/>
                  <a:ext cx="773113" cy="1108075"/>
                </a:xfrm>
                <a:custGeom>
                  <a:avLst/>
                  <a:gdLst>
                    <a:gd name="T0" fmla="*/ 326 w 487"/>
                    <a:gd name="T1" fmla="*/ 532 h 698"/>
                    <a:gd name="T2" fmla="*/ 0 w 487"/>
                    <a:gd name="T3" fmla="*/ 532 h 698"/>
                    <a:gd name="T4" fmla="*/ 0 w 487"/>
                    <a:gd name="T5" fmla="*/ 445 h 698"/>
                    <a:gd name="T6" fmla="*/ 326 w 487"/>
                    <a:gd name="T7" fmla="*/ 0 h 698"/>
                    <a:gd name="T8" fmla="*/ 414 w 487"/>
                    <a:gd name="T9" fmla="*/ 0 h 698"/>
                    <a:gd name="T10" fmla="*/ 414 w 487"/>
                    <a:gd name="T11" fmla="*/ 450 h 698"/>
                    <a:gd name="T12" fmla="*/ 487 w 487"/>
                    <a:gd name="T13" fmla="*/ 450 h 698"/>
                    <a:gd name="T14" fmla="*/ 487 w 487"/>
                    <a:gd name="T15" fmla="*/ 532 h 698"/>
                    <a:gd name="T16" fmla="*/ 414 w 487"/>
                    <a:gd name="T17" fmla="*/ 532 h 698"/>
                    <a:gd name="T18" fmla="*/ 414 w 487"/>
                    <a:gd name="T19" fmla="*/ 698 h 698"/>
                    <a:gd name="T20" fmla="*/ 326 w 487"/>
                    <a:gd name="T21" fmla="*/ 698 h 698"/>
                    <a:gd name="T22" fmla="*/ 326 w 487"/>
                    <a:gd name="T23" fmla="*/ 532 h 698"/>
                    <a:gd name="T24" fmla="*/ 326 w 487"/>
                    <a:gd name="T25" fmla="*/ 450 h 698"/>
                    <a:gd name="T26" fmla="*/ 326 w 487"/>
                    <a:gd name="T27" fmla="*/ 123 h 698"/>
                    <a:gd name="T28" fmla="*/ 92 w 487"/>
                    <a:gd name="T29" fmla="*/ 450 h 698"/>
                    <a:gd name="T30" fmla="*/ 326 w 487"/>
                    <a:gd name="T31" fmla="*/ 450 h 6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87" h="698">
                      <a:moveTo>
                        <a:pt x="326" y="532"/>
                      </a:moveTo>
                      <a:lnTo>
                        <a:pt x="0" y="532"/>
                      </a:lnTo>
                      <a:lnTo>
                        <a:pt x="0" y="445"/>
                      </a:lnTo>
                      <a:lnTo>
                        <a:pt x="326" y="0"/>
                      </a:lnTo>
                      <a:lnTo>
                        <a:pt x="414" y="0"/>
                      </a:lnTo>
                      <a:lnTo>
                        <a:pt x="414" y="450"/>
                      </a:lnTo>
                      <a:lnTo>
                        <a:pt x="487" y="450"/>
                      </a:lnTo>
                      <a:lnTo>
                        <a:pt x="487" y="532"/>
                      </a:lnTo>
                      <a:lnTo>
                        <a:pt x="414" y="532"/>
                      </a:lnTo>
                      <a:lnTo>
                        <a:pt x="414" y="698"/>
                      </a:lnTo>
                      <a:lnTo>
                        <a:pt x="326" y="698"/>
                      </a:lnTo>
                      <a:lnTo>
                        <a:pt x="326" y="532"/>
                      </a:lnTo>
                      <a:close/>
                      <a:moveTo>
                        <a:pt x="326" y="450"/>
                      </a:moveTo>
                      <a:lnTo>
                        <a:pt x="326" y="123"/>
                      </a:lnTo>
                      <a:lnTo>
                        <a:pt x="92" y="450"/>
                      </a:lnTo>
                      <a:lnTo>
                        <a:pt x="326" y="4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  <p:sp>
              <p:nvSpPr>
                <p:cNvPr id="68" name="Freeform 13">
                  <a:extLst>
                    <a:ext uri="{FF2B5EF4-FFF2-40B4-BE49-F238E27FC236}">
                      <a16:creationId xmlns:a16="http://schemas.microsoft.com/office/drawing/2014/main" id="{3F583F95-0A5D-47F3-A746-5104F7C5A7E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-1106488" y="-874713"/>
                  <a:ext cx="14401801" cy="5426076"/>
                </a:xfrm>
                <a:custGeom>
                  <a:avLst/>
                  <a:gdLst>
                    <a:gd name="T0" fmla="*/ 1275 w 3838"/>
                    <a:gd name="T1" fmla="*/ 18 h 1445"/>
                    <a:gd name="T2" fmla="*/ 1275 w 3838"/>
                    <a:gd name="T3" fmla="*/ 1424 h 1445"/>
                    <a:gd name="T4" fmla="*/ 1146 w 3838"/>
                    <a:gd name="T5" fmla="*/ 1424 h 1445"/>
                    <a:gd name="T6" fmla="*/ 1146 w 3838"/>
                    <a:gd name="T7" fmla="*/ 276 h 1445"/>
                    <a:gd name="T8" fmla="*/ 683 w 3838"/>
                    <a:gd name="T9" fmla="*/ 1175 h 1445"/>
                    <a:gd name="T10" fmla="*/ 592 w 3838"/>
                    <a:gd name="T11" fmla="*/ 1175 h 1445"/>
                    <a:gd name="T12" fmla="*/ 129 w 3838"/>
                    <a:gd name="T13" fmla="*/ 278 h 1445"/>
                    <a:gd name="T14" fmla="*/ 129 w 3838"/>
                    <a:gd name="T15" fmla="*/ 1424 h 1445"/>
                    <a:gd name="T16" fmla="*/ 0 w 3838"/>
                    <a:gd name="T17" fmla="*/ 1424 h 1445"/>
                    <a:gd name="T18" fmla="*/ 0 w 3838"/>
                    <a:gd name="T19" fmla="*/ 18 h 1445"/>
                    <a:gd name="T20" fmla="*/ 135 w 3838"/>
                    <a:gd name="T21" fmla="*/ 18 h 1445"/>
                    <a:gd name="T22" fmla="*/ 638 w 3838"/>
                    <a:gd name="T23" fmla="*/ 989 h 1445"/>
                    <a:gd name="T24" fmla="*/ 1142 w 3838"/>
                    <a:gd name="T25" fmla="*/ 18 h 1445"/>
                    <a:gd name="T26" fmla="*/ 1275 w 3838"/>
                    <a:gd name="T27" fmla="*/ 18 h 1445"/>
                    <a:gd name="T28" fmla="*/ 2643 w 3838"/>
                    <a:gd name="T29" fmla="*/ 1445 h 1445"/>
                    <a:gd name="T30" fmla="*/ 2410 w 3838"/>
                    <a:gd name="T31" fmla="*/ 1195 h 1445"/>
                    <a:gd name="T32" fmla="*/ 2021 w 3838"/>
                    <a:gd name="T33" fmla="*/ 1424 h 1445"/>
                    <a:gd name="T34" fmla="*/ 1598 w 3838"/>
                    <a:gd name="T35" fmla="*/ 1048 h 1445"/>
                    <a:gd name="T36" fmla="*/ 1910 w 3838"/>
                    <a:gd name="T37" fmla="*/ 651 h 1445"/>
                    <a:gd name="T38" fmla="*/ 1729 w 3838"/>
                    <a:gd name="T39" fmla="*/ 322 h 1445"/>
                    <a:gd name="T40" fmla="*/ 2041 w 3838"/>
                    <a:gd name="T41" fmla="*/ 22 h 1445"/>
                    <a:gd name="T42" fmla="*/ 2357 w 3838"/>
                    <a:gd name="T43" fmla="*/ 322 h 1445"/>
                    <a:gd name="T44" fmla="*/ 2103 w 3838"/>
                    <a:gd name="T45" fmla="*/ 675 h 1445"/>
                    <a:gd name="T46" fmla="*/ 2394 w 3838"/>
                    <a:gd name="T47" fmla="*/ 991 h 1445"/>
                    <a:gd name="T48" fmla="*/ 2565 w 3838"/>
                    <a:gd name="T49" fmla="*/ 713 h 1445"/>
                    <a:gd name="T50" fmla="*/ 2668 w 3838"/>
                    <a:gd name="T51" fmla="*/ 778 h 1445"/>
                    <a:gd name="T52" fmla="*/ 2478 w 3838"/>
                    <a:gd name="T53" fmla="*/ 1086 h 1445"/>
                    <a:gd name="T54" fmla="*/ 2738 w 3838"/>
                    <a:gd name="T55" fmla="*/ 1362 h 1445"/>
                    <a:gd name="T56" fmla="*/ 2643 w 3838"/>
                    <a:gd name="T57" fmla="*/ 1445 h 1445"/>
                    <a:gd name="T58" fmla="*/ 1991 w 3838"/>
                    <a:gd name="T59" fmla="*/ 739 h 1445"/>
                    <a:gd name="T60" fmla="*/ 1727 w 3838"/>
                    <a:gd name="T61" fmla="*/ 1046 h 1445"/>
                    <a:gd name="T62" fmla="*/ 2021 w 3838"/>
                    <a:gd name="T63" fmla="*/ 1308 h 1445"/>
                    <a:gd name="T64" fmla="*/ 2329 w 3838"/>
                    <a:gd name="T65" fmla="*/ 1106 h 1445"/>
                    <a:gd name="T66" fmla="*/ 1991 w 3838"/>
                    <a:gd name="T67" fmla="*/ 739 h 1445"/>
                    <a:gd name="T68" fmla="*/ 1856 w 3838"/>
                    <a:gd name="T69" fmla="*/ 322 h 1445"/>
                    <a:gd name="T70" fmla="*/ 2023 w 3838"/>
                    <a:gd name="T71" fmla="*/ 590 h 1445"/>
                    <a:gd name="T72" fmla="*/ 2232 w 3838"/>
                    <a:gd name="T73" fmla="*/ 322 h 1445"/>
                    <a:gd name="T74" fmla="*/ 2041 w 3838"/>
                    <a:gd name="T75" fmla="*/ 135 h 1445"/>
                    <a:gd name="T76" fmla="*/ 1856 w 3838"/>
                    <a:gd name="T77" fmla="*/ 322 h 1445"/>
                    <a:gd name="T78" fmla="*/ 3828 w 3838"/>
                    <a:gd name="T79" fmla="*/ 318 h 1445"/>
                    <a:gd name="T80" fmla="*/ 3711 w 3838"/>
                    <a:gd name="T81" fmla="*/ 361 h 1445"/>
                    <a:gd name="T82" fmla="*/ 3357 w 3838"/>
                    <a:gd name="T83" fmla="*/ 119 h 1445"/>
                    <a:gd name="T84" fmla="*/ 3036 w 3838"/>
                    <a:gd name="T85" fmla="*/ 379 h 1445"/>
                    <a:gd name="T86" fmla="*/ 3838 w 3838"/>
                    <a:gd name="T87" fmla="*/ 1038 h 1445"/>
                    <a:gd name="T88" fmla="*/ 3367 w 3838"/>
                    <a:gd name="T89" fmla="*/ 1439 h 1445"/>
                    <a:gd name="T90" fmla="*/ 2839 w 3838"/>
                    <a:gd name="T91" fmla="*/ 1114 h 1445"/>
                    <a:gd name="T92" fmla="*/ 2948 w 3838"/>
                    <a:gd name="T93" fmla="*/ 1048 h 1445"/>
                    <a:gd name="T94" fmla="*/ 3355 w 3838"/>
                    <a:gd name="T95" fmla="*/ 1320 h 1445"/>
                    <a:gd name="T96" fmla="*/ 3709 w 3838"/>
                    <a:gd name="T97" fmla="*/ 1036 h 1445"/>
                    <a:gd name="T98" fmla="*/ 2907 w 3838"/>
                    <a:gd name="T99" fmla="*/ 377 h 1445"/>
                    <a:gd name="T100" fmla="*/ 3353 w 3838"/>
                    <a:gd name="T101" fmla="*/ 0 h 1445"/>
                    <a:gd name="T102" fmla="*/ 3828 w 3838"/>
                    <a:gd name="T103" fmla="*/ 318 h 1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838" h="1445">
                      <a:moveTo>
                        <a:pt x="1275" y="18"/>
                      </a:moveTo>
                      <a:cubicBezTo>
                        <a:pt x="1275" y="1424"/>
                        <a:pt x="1275" y="1424"/>
                        <a:pt x="1275" y="1424"/>
                      </a:cubicBezTo>
                      <a:cubicBezTo>
                        <a:pt x="1146" y="1424"/>
                        <a:pt x="1146" y="1424"/>
                        <a:pt x="1146" y="1424"/>
                      </a:cubicBezTo>
                      <a:cubicBezTo>
                        <a:pt x="1146" y="276"/>
                        <a:pt x="1146" y="276"/>
                        <a:pt x="1146" y="276"/>
                      </a:cubicBezTo>
                      <a:cubicBezTo>
                        <a:pt x="683" y="1175"/>
                        <a:pt x="683" y="1175"/>
                        <a:pt x="683" y="1175"/>
                      </a:cubicBezTo>
                      <a:cubicBezTo>
                        <a:pt x="592" y="1175"/>
                        <a:pt x="592" y="1175"/>
                        <a:pt x="592" y="1175"/>
                      </a:cubicBezTo>
                      <a:cubicBezTo>
                        <a:pt x="129" y="278"/>
                        <a:pt x="129" y="278"/>
                        <a:pt x="129" y="278"/>
                      </a:cubicBezTo>
                      <a:cubicBezTo>
                        <a:pt x="129" y="1424"/>
                        <a:pt x="129" y="1424"/>
                        <a:pt x="129" y="1424"/>
                      </a:cubicBezTo>
                      <a:cubicBezTo>
                        <a:pt x="0" y="1424"/>
                        <a:pt x="0" y="1424"/>
                        <a:pt x="0" y="1424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135" y="18"/>
                        <a:pt x="135" y="18"/>
                        <a:pt x="135" y="18"/>
                      </a:cubicBezTo>
                      <a:cubicBezTo>
                        <a:pt x="638" y="989"/>
                        <a:pt x="638" y="989"/>
                        <a:pt x="638" y="989"/>
                      </a:cubicBezTo>
                      <a:cubicBezTo>
                        <a:pt x="1142" y="18"/>
                        <a:pt x="1142" y="18"/>
                        <a:pt x="1142" y="18"/>
                      </a:cubicBezTo>
                      <a:lnTo>
                        <a:pt x="1275" y="18"/>
                      </a:lnTo>
                      <a:close/>
                      <a:moveTo>
                        <a:pt x="2643" y="1445"/>
                      </a:moveTo>
                      <a:cubicBezTo>
                        <a:pt x="2410" y="1195"/>
                        <a:pt x="2410" y="1195"/>
                        <a:pt x="2410" y="1195"/>
                      </a:cubicBezTo>
                      <a:cubicBezTo>
                        <a:pt x="2325" y="1328"/>
                        <a:pt x="2210" y="1424"/>
                        <a:pt x="2021" y="1424"/>
                      </a:cubicBezTo>
                      <a:cubicBezTo>
                        <a:pt x="1777" y="1424"/>
                        <a:pt x="1598" y="1255"/>
                        <a:pt x="1598" y="1048"/>
                      </a:cubicBezTo>
                      <a:cubicBezTo>
                        <a:pt x="1598" y="874"/>
                        <a:pt x="1704" y="768"/>
                        <a:pt x="1910" y="651"/>
                      </a:cubicBezTo>
                      <a:cubicBezTo>
                        <a:pt x="1793" y="534"/>
                        <a:pt x="1729" y="437"/>
                        <a:pt x="1729" y="322"/>
                      </a:cubicBezTo>
                      <a:cubicBezTo>
                        <a:pt x="1729" y="155"/>
                        <a:pt x="1870" y="22"/>
                        <a:pt x="2041" y="22"/>
                      </a:cubicBezTo>
                      <a:cubicBezTo>
                        <a:pt x="2222" y="22"/>
                        <a:pt x="2357" y="155"/>
                        <a:pt x="2357" y="322"/>
                      </a:cubicBezTo>
                      <a:cubicBezTo>
                        <a:pt x="2357" y="483"/>
                        <a:pt x="2230" y="592"/>
                        <a:pt x="2103" y="675"/>
                      </a:cubicBezTo>
                      <a:cubicBezTo>
                        <a:pt x="2394" y="991"/>
                        <a:pt x="2394" y="991"/>
                        <a:pt x="2394" y="991"/>
                      </a:cubicBezTo>
                      <a:cubicBezTo>
                        <a:pt x="2565" y="713"/>
                        <a:pt x="2565" y="713"/>
                        <a:pt x="2565" y="713"/>
                      </a:cubicBezTo>
                      <a:cubicBezTo>
                        <a:pt x="2668" y="778"/>
                        <a:pt x="2668" y="778"/>
                        <a:pt x="2668" y="778"/>
                      </a:cubicBezTo>
                      <a:cubicBezTo>
                        <a:pt x="2478" y="1086"/>
                        <a:pt x="2478" y="1086"/>
                        <a:pt x="2478" y="1086"/>
                      </a:cubicBezTo>
                      <a:cubicBezTo>
                        <a:pt x="2738" y="1362"/>
                        <a:pt x="2738" y="1362"/>
                        <a:pt x="2738" y="1362"/>
                      </a:cubicBezTo>
                      <a:lnTo>
                        <a:pt x="2643" y="1445"/>
                      </a:lnTo>
                      <a:close/>
                      <a:moveTo>
                        <a:pt x="1991" y="739"/>
                      </a:moveTo>
                      <a:cubicBezTo>
                        <a:pt x="1807" y="840"/>
                        <a:pt x="1727" y="921"/>
                        <a:pt x="1727" y="1046"/>
                      </a:cubicBezTo>
                      <a:cubicBezTo>
                        <a:pt x="1727" y="1189"/>
                        <a:pt x="1856" y="1308"/>
                        <a:pt x="2021" y="1308"/>
                      </a:cubicBezTo>
                      <a:cubicBezTo>
                        <a:pt x="2170" y="1308"/>
                        <a:pt x="2246" y="1239"/>
                        <a:pt x="2329" y="1106"/>
                      </a:cubicBezTo>
                      <a:lnTo>
                        <a:pt x="1991" y="739"/>
                      </a:lnTo>
                      <a:close/>
                      <a:moveTo>
                        <a:pt x="1856" y="322"/>
                      </a:moveTo>
                      <a:cubicBezTo>
                        <a:pt x="1856" y="401"/>
                        <a:pt x="1908" y="467"/>
                        <a:pt x="2023" y="590"/>
                      </a:cubicBezTo>
                      <a:cubicBezTo>
                        <a:pt x="2158" y="512"/>
                        <a:pt x="2232" y="429"/>
                        <a:pt x="2232" y="322"/>
                      </a:cubicBezTo>
                      <a:cubicBezTo>
                        <a:pt x="2232" y="217"/>
                        <a:pt x="2162" y="135"/>
                        <a:pt x="2041" y="135"/>
                      </a:cubicBezTo>
                      <a:cubicBezTo>
                        <a:pt x="1928" y="135"/>
                        <a:pt x="1856" y="224"/>
                        <a:pt x="1856" y="322"/>
                      </a:cubicBezTo>
                      <a:close/>
                      <a:moveTo>
                        <a:pt x="3828" y="318"/>
                      </a:moveTo>
                      <a:cubicBezTo>
                        <a:pt x="3711" y="361"/>
                        <a:pt x="3711" y="361"/>
                        <a:pt x="3711" y="361"/>
                      </a:cubicBezTo>
                      <a:cubicBezTo>
                        <a:pt x="3665" y="213"/>
                        <a:pt x="3534" y="119"/>
                        <a:pt x="3357" y="119"/>
                      </a:cubicBezTo>
                      <a:cubicBezTo>
                        <a:pt x="3163" y="119"/>
                        <a:pt x="3036" y="215"/>
                        <a:pt x="3036" y="379"/>
                      </a:cubicBezTo>
                      <a:cubicBezTo>
                        <a:pt x="3036" y="729"/>
                        <a:pt x="3838" y="544"/>
                        <a:pt x="3838" y="1038"/>
                      </a:cubicBezTo>
                      <a:cubicBezTo>
                        <a:pt x="3838" y="1273"/>
                        <a:pt x="3649" y="1439"/>
                        <a:pt x="3367" y="1439"/>
                      </a:cubicBezTo>
                      <a:cubicBezTo>
                        <a:pt x="3105" y="1439"/>
                        <a:pt x="2948" y="1314"/>
                        <a:pt x="2839" y="1114"/>
                      </a:cubicBezTo>
                      <a:cubicBezTo>
                        <a:pt x="2948" y="1048"/>
                        <a:pt x="2948" y="1048"/>
                        <a:pt x="2948" y="1048"/>
                      </a:cubicBezTo>
                      <a:cubicBezTo>
                        <a:pt x="3020" y="1201"/>
                        <a:pt x="3153" y="1320"/>
                        <a:pt x="3355" y="1320"/>
                      </a:cubicBezTo>
                      <a:cubicBezTo>
                        <a:pt x="3588" y="1320"/>
                        <a:pt x="3709" y="1213"/>
                        <a:pt x="3709" y="1036"/>
                      </a:cubicBezTo>
                      <a:cubicBezTo>
                        <a:pt x="3709" y="683"/>
                        <a:pt x="2907" y="856"/>
                        <a:pt x="2907" y="377"/>
                      </a:cubicBezTo>
                      <a:cubicBezTo>
                        <a:pt x="2907" y="93"/>
                        <a:pt x="3163" y="0"/>
                        <a:pt x="3353" y="0"/>
                      </a:cubicBezTo>
                      <a:cubicBezTo>
                        <a:pt x="3566" y="0"/>
                        <a:pt x="3760" y="97"/>
                        <a:pt x="3828" y="31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>
                    <a:solidFill>
                      <a:prstClr val="black"/>
                    </a:solidFill>
                    <a:latin typeface="MS London" panose="020B0503020203020204" pitchFamily="34" charset="0"/>
                    <a:ea typeface="ＭＳ Ｐゴシック"/>
                  </a:endParaRPr>
                </a:p>
              </p:txBody>
            </p:sp>
          </p:grpSp>
          <p:pic>
            <p:nvPicPr>
              <p:cNvPr id="59" name="Picture 58" descr="A picture containing light, drawing&#10;&#10;Description automatically generated">
                <a:extLst>
                  <a:ext uri="{FF2B5EF4-FFF2-40B4-BE49-F238E27FC236}">
                    <a16:creationId xmlns:a16="http://schemas.microsoft.com/office/drawing/2014/main" id="{E5341F33-A632-4CE4-8E24-A323D0368F7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002329" y="742543"/>
                <a:ext cx="1021396" cy="135384"/>
              </a:xfrm>
              <a:prstGeom prst="rect">
                <a:avLst/>
              </a:prstGeom>
            </p:spPr>
          </p:pic>
        </p:grpSp>
      </p:grpSp>
      <p:sp>
        <p:nvSpPr>
          <p:cNvPr id="6" name="Holder 6">
            <a:extLst>
              <a:ext uri="{FF2B5EF4-FFF2-40B4-BE49-F238E27FC236}">
                <a16:creationId xmlns:a16="http://schemas.microsoft.com/office/drawing/2014/main" id="{93B96A5F-F4A8-483F-8F2A-A78605C89D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</p:spTree>
    <p:extLst>
      <p:ext uri="{BB962C8B-B14F-4D97-AF65-F5344CB8AC3E}">
        <p14:creationId xmlns:p14="http://schemas.microsoft.com/office/powerpoint/2010/main" val="16743982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6" y="419467"/>
            <a:ext cx="10872394" cy="664866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2414" y="1216868"/>
            <a:ext cx="11747173" cy="4827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en-AU" smtClean="0"/>
            </a:lvl1pPr>
            <a:lvl2pPr>
              <a:lnSpc>
                <a:spcPct val="114000"/>
              </a:lnSpc>
              <a:defRPr lang="en-AU" smtClean="0"/>
            </a:lvl2pPr>
            <a:lvl3pPr>
              <a:lnSpc>
                <a:spcPct val="114000"/>
              </a:lnSpc>
              <a:defRPr lang="en-AU" smtClean="0"/>
            </a:lvl3pPr>
            <a:lvl4pPr>
              <a:lnSpc>
                <a:spcPct val="114000"/>
              </a:lnSpc>
              <a:defRPr lang="en-AU" smtClean="0"/>
            </a:lvl4pPr>
            <a:lvl5pPr>
              <a:lnSpc>
                <a:spcPct val="114000"/>
              </a:lnSpc>
              <a:defRPr lang="en-US" dirty="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BE7CB3-C7DB-456F-AF22-FAEA109901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13725" y="6327775"/>
            <a:ext cx="3756025" cy="420688"/>
          </a:xfrm>
          <a:prstGeom prst="rect">
            <a:avLst/>
          </a:prstGeom>
        </p:spPr>
        <p:txBody>
          <a:bodyPr anchor="b"/>
          <a:lstStyle>
            <a:lvl1pPr algn="r">
              <a:defRPr sz="800"/>
            </a:lvl1pPr>
          </a:lstStyle>
          <a:p>
            <a:pPr lvl="0"/>
            <a:r>
              <a:rPr lang="en-GB"/>
              <a:t>Slide footer</a:t>
            </a:r>
          </a:p>
        </p:txBody>
      </p:sp>
    </p:spTree>
    <p:extLst>
      <p:ext uri="{BB962C8B-B14F-4D97-AF65-F5344CB8AC3E}">
        <p14:creationId xmlns:p14="http://schemas.microsoft.com/office/powerpoint/2010/main" val="22645274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6" y="419467"/>
            <a:ext cx="10872394" cy="664866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2414" y="1216868"/>
            <a:ext cx="11747173" cy="4827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en-AU" smtClean="0"/>
            </a:lvl1pPr>
            <a:lvl2pPr>
              <a:lnSpc>
                <a:spcPct val="114000"/>
              </a:lnSpc>
              <a:defRPr lang="en-AU" smtClean="0"/>
            </a:lvl2pPr>
            <a:lvl3pPr>
              <a:lnSpc>
                <a:spcPct val="114000"/>
              </a:lnSpc>
              <a:defRPr lang="en-AU" smtClean="0"/>
            </a:lvl3pPr>
            <a:lvl4pPr>
              <a:lnSpc>
                <a:spcPct val="114000"/>
              </a:lnSpc>
              <a:defRPr lang="en-AU" smtClean="0"/>
            </a:lvl4pPr>
            <a:lvl5pPr>
              <a:lnSpc>
                <a:spcPct val="114000"/>
              </a:lnSpc>
              <a:defRPr lang="en-US" dirty="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BE7CB3-C7DB-456F-AF22-FAEA109901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13725" y="6327775"/>
            <a:ext cx="3756025" cy="420688"/>
          </a:xfrm>
          <a:prstGeom prst="rect">
            <a:avLst/>
          </a:prstGeom>
        </p:spPr>
        <p:txBody>
          <a:bodyPr anchor="b"/>
          <a:lstStyle>
            <a:lvl1pPr algn="r">
              <a:defRPr sz="800"/>
            </a:lvl1pPr>
          </a:lstStyle>
          <a:p>
            <a:pPr lvl="0"/>
            <a:r>
              <a:rPr lang="en-GB"/>
              <a:t>Slide footer</a:t>
            </a:r>
          </a:p>
        </p:txBody>
      </p:sp>
    </p:spTree>
    <p:extLst>
      <p:ext uri="{BB962C8B-B14F-4D97-AF65-F5344CB8AC3E}">
        <p14:creationId xmlns:p14="http://schemas.microsoft.com/office/powerpoint/2010/main" val="5056539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rgbClr val="FFFFFF"/>
        </a:solidFill>
        <a:effectLst/>
      </p:bgPr>
    </p:bg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37414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208257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F801EE-E4EC-4C6B-82C6-26FB5C875B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F801EE-E4EC-4C6B-82C6-26FB5C875B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3AD188F-C791-4627-AAD2-B548F9122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AU" sz="2133">
              <a:solidFill>
                <a:srgbClr val="FFFFFF"/>
              </a:solidFill>
              <a:sym typeface="MS Londo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4100" y="1272078"/>
            <a:ext cx="9306595" cy="4806343"/>
          </a:xfr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AU" dirty="0"/>
            </a:lvl1pPr>
            <a:lvl2pPr>
              <a:defRPr lang="en-AU" dirty="0"/>
            </a:lvl2pPr>
            <a:lvl3pPr>
              <a:defRPr lang="en-AU" dirty="0"/>
            </a:lvl3pPr>
            <a:lvl4pPr>
              <a:defRPr lang="en-AU" dirty="0"/>
            </a:lvl4pPr>
            <a:lvl5pPr>
              <a:defRPr lang="en-US" dirty="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86602" y="635314"/>
            <a:ext cx="1169685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4657347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589164"/>
      </p:ext>
    </p:extLst>
  </p:cSld>
  <p:clrMapOvr>
    <a:masterClrMapping/>
  </p:clrMapOvr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643910"/>
      </p:ext>
    </p:extLst>
  </p:cSld>
  <p:clrMapOvr>
    <a:masterClrMapping/>
  </p:clrMapOvr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085295"/>
      </p:ext>
    </p:extLst>
  </p:cSld>
  <p:clrMapOvr>
    <a:masterClrMapping/>
  </p:clrMapOvr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237239"/>
      </p:ext>
    </p:extLst>
  </p:cSld>
  <p:clrMapOvr>
    <a:masterClrMapping/>
  </p:clrMapOvr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9651"/>
      </p:ext>
    </p:extLst>
  </p:cSld>
  <p:clrMapOvr>
    <a:masterClrMapping/>
  </p:clrMapOvr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782807"/>
      </p:ext>
    </p:extLst>
  </p:cSld>
  <p:clrMapOvr>
    <a:masterClrMapping/>
  </p:clrMapOvr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506009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298570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953885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583301"/>
      </p:ext>
    </p:extLst>
  </p:cSld>
  <p:clrMapOvr>
    <a:masterClrMapping/>
  </p:clrMapOvr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904810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489373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3E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978049" y="6499029"/>
            <a:ext cx="65" cy="14927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81013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60438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41450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20875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780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352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924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496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GB" sz="970" i="0" dirty="0">
              <a:solidFill>
                <a:srgbClr val="A5A6A9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05853" y="1155031"/>
            <a:ext cx="1060383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6468797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59657" y="130629"/>
            <a:ext cx="11829143" cy="10740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1349830"/>
            <a:ext cx="12192000" cy="2220686"/>
          </a:xfrm>
          <a:prstGeom prst="rect">
            <a:avLst/>
          </a:prstGeom>
          <a:solidFill>
            <a:schemeClr val="accent6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Next for HSBC Light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58" y="3570515"/>
            <a:ext cx="12190083" cy="3287486"/>
          </a:xfrm>
          <a:prstGeom prst="rect">
            <a:avLst/>
          </a:prstGeom>
          <a:solidFill>
            <a:srgbClr val="19483E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Next for HSBC Light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35429" y="1045030"/>
            <a:ext cx="1127275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227596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356795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075451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565018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342890"/>
      </p:ext>
    </p:extLst>
  </p:cSld>
  <p:clrMapOvr>
    <a:masterClrMapping/>
  </p:clrMapOvr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200304"/>
      </p:ext>
    </p:extLst>
  </p:cSld>
  <p:clrMapOvr>
    <a:masterClrMapping/>
  </p:clrMapOvr>
  <p:hf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192358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26770"/>
      </p:ext>
    </p:extLst>
  </p:cSld>
  <p:clrMapOvr>
    <a:masterClrMapping/>
  </p:clrMapOvr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773895"/>
      </p:ext>
    </p:extLst>
  </p:cSld>
  <p:clrMapOvr>
    <a:masterClrMapping/>
  </p:clrMapOvr>
  <p:hf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08890"/>
      </p:ext>
    </p:extLst>
  </p:cSld>
  <p:clrMapOvr>
    <a:masterClrMapping/>
  </p:clrMapOvr>
  <p:hf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521668"/>
      </p:ext>
    </p:extLst>
  </p:cSld>
  <p:clrMapOvr>
    <a:masterClrMapping/>
  </p:clrMapOvr>
  <p:hf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469359"/>
      </p:ext>
    </p:extLst>
  </p:cSld>
  <p:clrMapOvr>
    <a:masterClrMapping/>
  </p:clrMapOvr>
  <p:hf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801036"/>
      </p:ext>
    </p:extLst>
  </p:cSld>
  <p:clrMapOvr>
    <a:masterClrMapping/>
  </p:clrMapOvr>
  <p:hf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3E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978049" y="6499029"/>
            <a:ext cx="65" cy="14927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81013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60438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41450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20875" defTabSz="901700">
              <a:spcBef>
                <a:spcPct val="50000"/>
              </a:spcBef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780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352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924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49675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6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GB" sz="970" i="0" dirty="0">
              <a:solidFill>
                <a:srgbClr val="A5A6A9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05853" y="1155031"/>
            <a:ext cx="1060383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3731666"/>
      </p:ext>
    </p:extLst>
  </p:cSld>
  <p:clrMapOvr>
    <a:masterClrMapping/>
  </p:clrMapOvr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59657" y="130629"/>
            <a:ext cx="11829143" cy="10740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 smtClean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1349830"/>
            <a:ext cx="12192000" cy="2220686"/>
          </a:xfrm>
          <a:prstGeom prst="rect">
            <a:avLst/>
          </a:prstGeom>
          <a:solidFill>
            <a:schemeClr val="accent6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Next for HSBC Light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58" y="3570515"/>
            <a:ext cx="12190083" cy="3287486"/>
          </a:xfrm>
          <a:prstGeom prst="rect">
            <a:avLst/>
          </a:prstGeom>
          <a:solidFill>
            <a:srgbClr val="19483E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vers Next for HSBC Light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35429" y="1045030"/>
            <a:ext cx="11272753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7178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6807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13289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tags" Target="../tags/tag3.xml"/><Relationship Id="rId47" Type="http://schemas.openxmlformats.org/officeDocument/2006/relationships/tags" Target="../tags/tag8.xml"/><Relationship Id="rId50" Type="http://schemas.openxmlformats.org/officeDocument/2006/relationships/tags" Target="../tags/tag11.xml"/><Relationship Id="rId55" Type="http://schemas.openxmlformats.org/officeDocument/2006/relationships/tags" Target="../tags/tag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41" Type="http://schemas.openxmlformats.org/officeDocument/2006/relationships/tags" Target="../tags/tag2.xml"/><Relationship Id="rId54" Type="http://schemas.openxmlformats.org/officeDocument/2006/relationships/tags" Target="../tags/tag15.xml"/><Relationship Id="rId62" Type="http://schemas.openxmlformats.org/officeDocument/2006/relationships/image" Target="../media/image7.sv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tags" Target="../tags/tag1.xml"/><Relationship Id="rId45" Type="http://schemas.openxmlformats.org/officeDocument/2006/relationships/tags" Target="../tags/tag6.xml"/><Relationship Id="rId53" Type="http://schemas.openxmlformats.org/officeDocument/2006/relationships/tags" Target="../tags/tag14.xml"/><Relationship Id="rId58" Type="http://schemas.openxmlformats.org/officeDocument/2006/relationships/tags" Target="../tags/tag19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49" Type="http://schemas.openxmlformats.org/officeDocument/2006/relationships/tags" Target="../tags/tag10.xml"/><Relationship Id="rId57" Type="http://schemas.openxmlformats.org/officeDocument/2006/relationships/tags" Target="../tags/tag18.xml"/><Relationship Id="rId61" Type="http://schemas.openxmlformats.org/officeDocument/2006/relationships/image" Target="../media/image2.png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tags" Target="../tags/tag5.xml"/><Relationship Id="rId52" Type="http://schemas.openxmlformats.org/officeDocument/2006/relationships/tags" Target="../tags/tag13.xml"/><Relationship Id="rId6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tags" Target="../tags/tag4.xml"/><Relationship Id="rId48" Type="http://schemas.openxmlformats.org/officeDocument/2006/relationships/tags" Target="../tags/tag9.xml"/><Relationship Id="rId56" Type="http://schemas.openxmlformats.org/officeDocument/2006/relationships/tags" Target="../tags/tag17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theme" Target="../theme/theme2.xml"/><Relationship Id="rId46" Type="http://schemas.openxmlformats.org/officeDocument/2006/relationships/tags" Target="../tags/tag7.xml"/><Relationship Id="rId5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MSIPCMContentMarking" descr="{&quot;HashCode&quot;:-15760619,&quot;Placement&quot;:&quot;Footer&quot;,&quot;Top&quot;:519.343,&quot;Left&quot;:448.820251,&quot;SlideWidth&quot;:960,&quot;SlideHeight&quot;:540}"/>
          <p:cNvSpPr txBox="1"/>
          <p:nvPr userDrawn="1"/>
        </p:nvSpPr>
        <p:spPr>
          <a:xfrm>
            <a:off x="5700017" y="6595656"/>
            <a:ext cx="79196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 smtClean="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GB" sz="10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3387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>
            <a:extLst>
              <a:ext uri="{FF2B5EF4-FFF2-40B4-BE49-F238E27FC236}">
                <a16:creationId xmlns:a16="http://schemas.microsoft.com/office/drawing/2014/main" id="{BDA0FDDB-6E6E-430C-B9E1-477BC9EC51C3}"/>
              </a:ext>
            </a:extLst>
          </p:cNvPr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0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59" imgW="270" imgH="270" progId="TCLayout.ActiveDocument.1">
                  <p:embed/>
                </p:oleObj>
              </mc:Choice>
              <mc:Fallback>
                <p:oleObj name="think-cell Folie" r:id="rId5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222415" y="804269"/>
            <a:ext cx="11747172" cy="328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ja-JP" sz="2133" baseline="0" noProof="0">
                <a:solidFill>
                  <a:srgbClr val="808080"/>
                </a:solidFill>
                <a:latin typeface="+mn-lt"/>
                <a:ea typeface="+mn-ea"/>
                <a:cs typeface="MS London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3169488" y="2028635"/>
            <a:ext cx="5853024" cy="675433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altLang="ja-JP" sz="2133" b="1" baseline="0" noProof="0">
                  <a:latin typeface="+mn-lt"/>
                  <a:ea typeface="+mn-ea"/>
                  <a:cs typeface="MS London"/>
                </a:rPr>
                <a:t>Title</a:t>
              </a:r>
            </a:p>
            <a:p>
              <a:r>
                <a:rPr lang="en-US" altLang="ja-JP" sz="2133" baseline="0" noProof="0">
                  <a:solidFill>
                    <a:srgbClr val="808080"/>
                  </a:solidFill>
                  <a:latin typeface="+mn-lt"/>
                  <a:ea typeface="+mn-ea"/>
                  <a:cs typeface="MS London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11063836" y="436034"/>
            <a:ext cx="903615" cy="1165750"/>
            <a:chOff x="8336837" y="2006068"/>
            <a:chExt cx="677711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altLang="ja-JP" sz="1333" noProof="0">
                <a:latin typeface="+mn-lt"/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altLang="ja-JP" sz="1333" noProof="0">
                <a:latin typeface="+mn-lt"/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altLang="ja-JP" sz="1333" noProof="0">
                <a:latin typeface="+mn-lt"/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altLang="ja-JP" sz="1333" noProof="0">
                <a:latin typeface="+mn-lt"/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10691237" y="436035"/>
            <a:ext cx="1276212" cy="819770"/>
            <a:chOff x="8057389" y="2020564"/>
            <a:chExt cx="957159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altLang="ja-JP" sz="1333" noProof="0">
                <a:latin typeface="+mn-lt"/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altLang="ja-JP" sz="1333" noProof="0">
                <a:latin typeface="+mn-lt"/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altLang="ja-JP" sz="1333" noProof="0">
                <a:latin typeface="+mn-lt"/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10863076" y="436034"/>
            <a:ext cx="1106520" cy="232821"/>
            <a:chOff x="7826167" y="285750"/>
            <a:chExt cx="914608" cy="228186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826167" y="285750"/>
              <a:ext cx="914608" cy="2281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015301">
                <a:buClr>
                  <a:schemeClr val="tx2"/>
                </a:buClr>
              </a:pPr>
              <a:r>
                <a:rPr lang="en-US" altLang="ja-JP" sz="1333" noProof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826167" y="285750"/>
              <a:ext cx="0" cy="22818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826167" y="513936"/>
              <a:ext cx="9146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40" name="McK Moon" hidden="1"/>
          <p:cNvGrpSpPr>
            <a:grpSpLocks/>
          </p:cNvGrpSpPr>
          <p:nvPr>
            <p:custDataLst>
              <p:tags r:id="rId41"/>
            </p:custDataLst>
          </p:nvPr>
        </p:nvGrpSpPr>
        <p:grpSpPr bwMode="auto">
          <a:xfrm>
            <a:off x="10291807" y="1032392"/>
            <a:ext cx="280416" cy="280416"/>
            <a:chOff x="1600" y="1600"/>
            <a:chExt cx="160" cy="160"/>
          </a:xfrm>
        </p:grpSpPr>
        <p:sp>
          <p:nvSpPr>
            <p:cNvPr id="41" name="Oval 90"/>
            <p:cNvSpPr>
              <a:spLocks noChangeAspect="1"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 altLang="ja-JP" sz="1333" noProof="0">
                <a:latin typeface="MS London" panose="020B0503020203020204" pitchFamily="34" charset="0"/>
              </a:endParaRPr>
            </a:p>
          </p:txBody>
        </p:sp>
        <p:sp>
          <p:nvSpPr>
            <p:cNvPr id="42" name="Arc 91"/>
            <p:cNvSpPr>
              <a:spLocks noChangeAspect="1"/>
            </p:cNvSpPr>
            <p:nvPr>
              <p:custDataLst>
                <p:tags r:id="rId5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 altLang="ja-JP" sz="1333" noProof="0">
                <a:latin typeface="MS London" panose="020B0503020203020204" pitchFamily="34" charset="0"/>
              </a:endParaRPr>
            </a:p>
          </p:txBody>
        </p:sp>
      </p:grpSp>
      <p:grpSp>
        <p:nvGrpSpPr>
          <p:cNvPr id="72" name="LegendMoons" hidden="1"/>
          <p:cNvGrpSpPr/>
          <p:nvPr/>
        </p:nvGrpSpPr>
        <p:grpSpPr bwMode="auto">
          <a:xfrm>
            <a:off x="11002221" y="436033"/>
            <a:ext cx="965228" cy="1473134"/>
            <a:chOff x="6915362" y="2006068"/>
            <a:chExt cx="723921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42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43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44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45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4723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15301">
                <a:buClr>
                  <a:schemeClr val="tx2"/>
                </a:buClr>
              </a:pPr>
              <a:r>
                <a:rPr lang="en-US" altLang="ja-JP" sz="1333" noProof="0">
                  <a:latin typeface="+mn-lt"/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46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altLang="ja-JP" sz="1333" noProof="0">
                  <a:latin typeface="+mn-lt"/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222415" y="10550"/>
            <a:ext cx="88806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ja-JP" sz="1600" baseline="0" noProof="0">
                <a:solidFill>
                  <a:srgbClr val="808080"/>
                </a:solidFill>
                <a:latin typeface="+mn-lt"/>
                <a:ea typeface="+mn-ea"/>
                <a:cs typeface="MS London"/>
              </a:rPr>
              <a:t>TRACKER</a:t>
            </a:r>
          </a:p>
        </p:txBody>
      </p:sp>
      <p:grpSp>
        <p:nvGrpSpPr>
          <p:cNvPr id="14" name="Slide Elements" hidden="1"/>
          <p:cNvGrpSpPr/>
          <p:nvPr/>
        </p:nvGrpSpPr>
        <p:grpSpPr>
          <a:xfrm>
            <a:off x="1399217" y="6124813"/>
            <a:ext cx="10570371" cy="611243"/>
            <a:chOff x="1049413" y="4593615"/>
            <a:chExt cx="7927778" cy="458433"/>
          </a:xfrm>
        </p:grpSpPr>
        <p:sp>
          <p:nvSpPr>
            <p:cNvPr id="68" name="4. Footnote"/>
            <p:cNvSpPr txBox="1">
              <a:spLocks noChangeArrowheads="1"/>
            </p:cNvSpPr>
            <p:nvPr userDrawn="1"/>
          </p:nvSpPr>
          <p:spPr bwMode="auto">
            <a:xfrm>
              <a:off x="1049413" y="4593615"/>
              <a:ext cx="792777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43930" indent="-143930">
                <a:defRPr/>
              </a:pPr>
              <a:r>
                <a:rPr lang="en-US" sz="1333" baseline="0" noProof="0">
                  <a:latin typeface="+mn-lt"/>
                </a:rPr>
                <a:t>1 Footnote</a:t>
              </a:r>
            </a:p>
          </p:txBody>
        </p:sp>
        <p:sp>
          <p:nvSpPr>
            <p:cNvPr id="69" name="5. Source"/>
            <p:cNvSpPr>
              <a:spLocks noChangeArrowheads="1"/>
            </p:cNvSpPr>
            <p:nvPr userDrawn="1"/>
          </p:nvSpPr>
          <p:spPr bwMode="auto">
            <a:xfrm>
              <a:off x="1057642" y="4898207"/>
              <a:ext cx="7502543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6518" indent="-626518" defTabSz="1193770">
                <a:tabLst>
                  <a:tab pos="632868" algn="l"/>
                </a:tabLst>
              </a:pPr>
              <a:r>
                <a:rPr lang="en-US" sz="1333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73" name="Slide Elements" hidden="1"/>
          <p:cNvGrpSpPr/>
          <p:nvPr userDrawn="1"/>
        </p:nvGrpSpPr>
        <p:grpSpPr>
          <a:xfrm>
            <a:off x="1399217" y="6124813"/>
            <a:ext cx="10570371" cy="611243"/>
            <a:chOff x="1049413" y="4593615"/>
            <a:chExt cx="7927778" cy="458433"/>
          </a:xfrm>
        </p:grpSpPr>
        <p:sp>
          <p:nvSpPr>
            <p:cNvPr id="74" name="4. Footnote"/>
            <p:cNvSpPr txBox="1">
              <a:spLocks noChangeArrowheads="1"/>
            </p:cNvSpPr>
            <p:nvPr userDrawn="1"/>
          </p:nvSpPr>
          <p:spPr bwMode="auto">
            <a:xfrm>
              <a:off x="1049413" y="4593615"/>
              <a:ext cx="7927778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43930" indent="-143930">
                <a:defRPr/>
              </a:pPr>
              <a:r>
                <a:rPr lang="en-US" sz="1333" baseline="0" noProof="0">
                  <a:latin typeface="+mn-lt"/>
                </a:rPr>
                <a:t>1 Footnote</a:t>
              </a:r>
            </a:p>
          </p:txBody>
        </p:sp>
        <p:sp>
          <p:nvSpPr>
            <p:cNvPr id="75" name="5. Source"/>
            <p:cNvSpPr>
              <a:spLocks noChangeArrowheads="1"/>
            </p:cNvSpPr>
            <p:nvPr userDrawn="1"/>
          </p:nvSpPr>
          <p:spPr bwMode="auto">
            <a:xfrm>
              <a:off x="1057642" y="4898207"/>
              <a:ext cx="7502543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6518" indent="-626518" defTabSz="1193770">
                <a:tabLst>
                  <a:tab pos="632868" algn="l"/>
                </a:tabLst>
              </a:pPr>
              <a:r>
                <a:rPr lang="en-US" sz="1333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1598" y="542586"/>
            <a:ext cx="10132122" cy="322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ja-JP" noProof="0"/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F7E79AB7-C969-4547-9311-8B358C3530D7}"/>
              </a:ext>
            </a:extLst>
          </p:cNvPr>
          <p:cNvCxnSpPr>
            <a:cxnSpLocks/>
          </p:cNvCxnSpPr>
          <p:nvPr userDrawn="1"/>
        </p:nvCxnSpPr>
        <p:spPr>
          <a:xfrm>
            <a:off x="0" y="1033522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65">
            <a:extLst>
              <a:ext uri="{FF2B5EF4-FFF2-40B4-BE49-F238E27FC236}">
                <a16:creationId xmlns:a16="http://schemas.microsoft.com/office/drawing/2014/main" id="{1E0A1D4B-8A21-4F8F-8532-E746B1E49B59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96DAC541-7B7A-43D3-8B79-37D633B846F1}">
                <asvg:svgBlip xmlns="" xmlns:asvg="http://schemas.microsoft.com/office/drawing/2016/SVG/main" r:embed="rId62"/>
              </a:ext>
            </a:extLst>
          </a:blip>
          <a:srcRect/>
          <a:stretch/>
        </p:blipFill>
        <p:spPr>
          <a:xfrm>
            <a:off x="10547918" y="-1"/>
            <a:ext cx="1235292" cy="1235292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145BC-711E-4BA2-9D8C-D6CDD5578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47800"/>
            <a:ext cx="10802937" cy="472916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64" name="Holder 6">
            <a:extLst>
              <a:ext uri="{FF2B5EF4-FFF2-40B4-BE49-F238E27FC236}">
                <a16:creationId xmlns:a16="http://schemas.microsoft.com/office/drawing/2014/main" id="{D2DC6886-AE6F-4F11-801C-1663034C51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465" y="6521176"/>
            <a:ext cx="486669" cy="14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33" b="0" i="0">
                <a:solidFill>
                  <a:schemeClr val="tx1"/>
                </a:solidFill>
                <a:latin typeface="MS London" panose="020B0503020203020204" pitchFamily="34" charset="0"/>
                <a:cs typeface="MS London" panose="020B0503020203020204" pitchFamily="34" charset="0"/>
              </a:defRPr>
            </a:lvl1pPr>
          </a:lstStyle>
          <a:p>
            <a:pPr marL="132077">
              <a:spcBef>
                <a:spcPts val="127"/>
              </a:spcBef>
            </a:pPr>
            <a:fld id="{81D60167-4931-47E6-BA6A-407CBD079E47}" type="slidenum">
              <a:rPr lang="en-GB" spc="-7" smtClean="0"/>
              <a:pPr marL="132077">
                <a:spcBef>
                  <a:spcPts val="127"/>
                </a:spcBef>
              </a:pPr>
              <a:t>‹#›</a:t>
            </a:fld>
            <a:endParaRPr lang="en-GB" spc="-7"/>
          </a:p>
        </p:txBody>
      </p:sp>
      <p:sp>
        <p:nvSpPr>
          <p:cNvPr id="5" name="MSIPCMContentMarking" descr="{&quot;HashCode&quot;:-15760619,&quot;Placement&quot;:&quot;Footer&quot;,&quot;Top&quot;:519.343,&quot;Left&quot;:448.820251,&quot;SlideWidth&quot;:960,&quot;SlideHeight&quot;:540}"/>
          <p:cNvSpPr txBox="1"/>
          <p:nvPr userDrawn="1"/>
        </p:nvSpPr>
        <p:spPr>
          <a:xfrm>
            <a:off x="5700017" y="6595656"/>
            <a:ext cx="79196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 smtClean="0">
                <a:solidFill>
                  <a:srgbClr val="000000"/>
                </a:solidFill>
                <a:latin typeface="Calibri" panose="020F0502020204030204" pitchFamily="34" charset="0"/>
                <a:cs typeface="MS London"/>
              </a:rPr>
              <a:t>INTERNAL</a:t>
            </a:r>
            <a:endParaRPr lang="en-GB" sz="1000" dirty="0" err="1" smtClean="0">
              <a:solidFill>
                <a:srgbClr val="000000"/>
              </a:solidFill>
              <a:latin typeface="Calibri" panose="020F0502020204030204" pitchFamily="34" charset="0"/>
              <a:cs typeface="MS London"/>
            </a:endParaRPr>
          </a:p>
        </p:txBody>
      </p:sp>
    </p:spTree>
    <p:extLst>
      <p:ext uri="{BB962C8B-B14F-4D97-AF65-F5344CB8AC3E}">
        <p14:creationId xmlns:p14="http://schemas.microsoft.com/office/powerpoint/2010/main" val="427719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  <p:sldLayoutId id="2147483709" r:id="rId35"/>
    <p:sldLayoutId id="2147483710" r:id="rId36"/>
    <p:sldLayoutId id="2147483711" r:id="rId37"/>
  </p:sldLayoutIdLst>
  <p:hf sldNum="0" hdr="0" ftr="0" dt="0"/>
  <p:txStyles>
    <p:titleStyle>
      <a:lvl1pPr algn="l" defTabSz="1015301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405041" algn="l"/>
        </a:tabLst>
        <a:defRPr kumimoji="1" sz="2500" b="1" cap="all" baseline="0">
          <a:solidFill>
            <a:schemeClr val="tx1"/>
          </a:solidFill>
          <a:latin typeface="+mj-lt"/>
          <a:ea typeface="+mj-ea"/>
          <a:cs typeface="MS London" panose="020B0503020203020204" pitchFamily="34" charset="0"/>
        </a:defRPr>
      </a:lvl1pPr>
      <a:lvl2pPr algn="l" defTabSz="1015301" rtl="0" eaLnBrk="1" fontAlgn="base" hangingPunct="1">
        <a:spcBef>
          <a:spcPct val="0"/>
        </a:spcBef>
        <a:spcAft>
          <a:spcPct val="0"/>
        </a:spcAft>
        <a:defRPr kumimoji="1" sz="2133" b="1">
          <a:solidFill>
            <a:schemeClr val="tx2"/>
          </a:solidFill>
          <a:latin typeface="Arial" charset="0"/>
        </a:defRPr>
      </a:lvl2pPr>
      <a:lvl3pPr algn="l" defTabSz="1015301" rtl="0" eaLnBrk="1" fontAlgn="base" hangingPunct="1">
        <a:spcBef>
          <a:spcPct val="0"/>
        </a:spcBef>
        <a:spcAft>
          <a:spcPct val="0"/>
        </a:spcAft>
        <a:defRPr kumimoji="1" sz="2133" b="1">
          <a:solidFill>
            <a:schemeClr val="tx2"/>
          </a:solidFill>
          <a:latin typeface="Arial" charset="0"/>
        </a:defRPr>
      </a:lvl3pPr>
      <a:lvl4pPr algn="l" defTabSz="1015301" rtl="0" eaLnBrk="1" fontAlgn="base" hangingPunct="1">
        <a:spcBef>
          <a:spcPct val="0"/>
        </a:spcBef>
        <a:spcAft>
          <a:spcPct val="0"/>
        </a:spcAft>
        <a:defRPr kumimoji="1" sz="2133" b="1">
          <a:solidFill>
            <a:schemeClr val="tx2"/>
          </a:solidFill>
          <a:latin typeface="Arial" charset="0"/>
        </a:defRPr>
      </a:lvl4pPr>
      <a:lvl5pPr algn="l" defTabSz="1015301" rtl="0" eaLnBrk="1" fontAlgn="base" hangingPunct="1">
        <a:spcBef>
          <a:spcPct val="0"/>
        </a:spcBef>
        <a:spcAft>
          <a:spcPct val="0"/>
        </a:spcAft>
        <a:defRPr kumimoji="1" sz="2133" b="1">
          <a:solidFill>
            <a:schemeClr val="tx2"/>
          </a:solidFill>
          <a:latin typeface="Arial" charset="0"/>
        </a:defRPr>
      </a:lvl5pPr>
      <a:lvl6pPr marL="518452" algn="l" defTabSz="1015301" rtl="0" eaLnBrk="1" fontAlgn="base" hangingPunct="1">
        <a:spcBef>
          <a:spcPct val="0"/>
        </a:spcBef>
        <a:spcAft>
          <a:spcPct val="0"/>
        </a:spcAft>
        <a:defRPr kumimoji="1" sz="2133" b="1">
          <a:solidFill>
            <a:schemeClr val="tx2"/>
          </a:solidFill>
          <a:latin typeface="Arial" charset="0"/>
        </a:defRPr>
      </a:lvl6pPr>
      <a:lvl7pPr marL="1036903" algn="l" defTabSz="1015301" rtl="0" eaLnBrk="1" fontAlgn="base" hangingPunct="1">
        <a:spcBef>
          <a:spcPct val="0"/>
        </a:spcBef>
        <a:spcAft>
          <a:spcPct val="0"/>
        </a:spcAft>
        <a:defRPr kumimoji="1" sz="2133" b="1">
          <a:solidFill>
            <a:schemeClr val="tx2"/>
          </a:solidFill>
          <a:latin typeface="Arial" charset="0"/>
        </a:defRPr>
      </a:lvl7pPr>
      <a:lvl8pPr marL="1555356" algn="l" defTabSz="1015301" rtl="0" eaLnBrk="1" fontAlgn="base" hangingPunct="1">
        <a:spcBef>
          <a:spcPct val="0"/>
        </a:spcBef>
        <a:spcAft>
          <a:spcPct val="0"/>
        </a:spcAft>
        <a:defRPr kumimoji="1" sz="2133" b="1">
          <a:solidFill>
            <a:schemeClr val="tx2"/>
          </a:solidFill>
          <a:latin typeface="Arial" charset="0"/>
        </a:defRPr>
      </a:lvl8pPr>
      <a:lvl9pPr marL="2073807" algn="l" defTabSz="1015301" rtl="0" eaLnBrk="1" fontAlgn="base" hangingPunct="1">
        <a:spcBef>
          <a:spcPct val="0"/>
        </a:spcBef>
        <a:spcAft>
          <a:spcPct val="0"/>
        </a:spcAft>
        <a:defRPr kumimoji="1" sz="21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15301" rtl="0" eaLnBrk="1" fontAlgn="base" hangingPunct="1">
        <a:lnSpc>
          <a:spcPct val="85000"/>
        </a:lnSpc>
        <a:spcBef>
          <a:spcPct val="0"/>
        </a:spcBef>
        <a:spcAft>
          <a:spcPts val="1200"/>
        </a:spcAft>
        <a:buClr>
          <a:schemeClr val="tx2"/>
        </a:buClr>
        <a:defRPr kumimoji="1" lang="en-US" altLang="ja-JP" sz="2400" baseline="0" noProof="0" dirty="0" smtClean="0">
          <a:solidFill>
            <a:schemeClr val="tx1"/>
          </a:solidFill>
          <a:latin typeface="Better Times" pitchFamily="50" charset="0"/>
          <a:ea typeface="+mn-ea"/>
          <a:cs typeface="Better Times" pitchFamily="50" charset="0"/>
        </a:defRPr>
      </a:lvl1pPr>
      <a:lvl2pPr marL="177800" indent="-177800" algn="l" defTabSz="1015301" rtl="0" eaLnBrk="1" fontAlgn="base" hangingPunct="1">
        <a:lnSpc>
          <a:spcPct val="85000"/>
        </a:lnSpc>
        <a:spcBef>
          <a:spcPct val="0"/>
        </a:spcBef>
        <a:spcAft>
          <a:spcPts val="1200"/>
        </a:spcAft>
        <a:buClrTx/>
        <a:buSzPct val="100000"/>
        <a:buFont typeface="Wingdings" panose="05000000000000000000" pitchFamily="2" charset="2"/>
        <a:buChar char="§"/>
        <a:defRPr kumimoji="1" lang="en-US" altLang="ja-JP" sz="1600" baseline="0" noProof="0" dirty="0" smtClean="0">
          <a:solidFill>
            <a:schemeClr val="tx1"/>
          </a:solidFill>
          <a:latin typeface="+mn-lt"/>
          <a:ea typeface="+mn-ea"/>
          <a:cs typeface="MS London"/>
        </a:defRPr>
      </a:lvl2pPr>
      <a:lvl3pPr marL="538163" indent="-176213" algn="l" defTabSz="1015301" rtl="0" eaLnBrk="1" fontAlgn="base" hangingPunct="1">
        <a:lnSpc>
          <a:spcPct val="85000"/>
        </a:lnSpc>
        <a:spcBef>
          <a:spcPct val="0"/>
        </a:spcBef>
        <a:spcAft>
          <a:spcPts val="1200"/>
        </a:spcAft>
        <a:buClrTx/>
        <a:buSzPct val="100000"/>
        <a:buFont typeface="Arial" charset="0"/>
        <a:buChar char="–"/>
        <a:defRPr kumimoji="1" lang="en-US" altLang="ja-JP" sz="1600" baseline="0" noProof="0" dirty="0" smtClean="0">
          <a:solidFill>
            <a:schemeClr val="tx1"/>
          </a:solidFill>
          <a:latin typeface="+mn-lt"/>
          <a:ea typeface="+mn-ea"/>
          <a:cs typeface="MS London"/>
        </a:defRPr>
      </a:lvl3pPr>
      <a:lvl4pPr marL="898525" indent="-177800" algn="l" defTabSz="1015301" rtl="0" eaLnBrk="1" fontAlgn="base" hangingPunct="1">
        <a:lnSpc>
          <a:spcPct val="85000"/>
        </a:lnSpc>
        <a:spcBef>
          <a:spcPct val="0"/>
        </a:spcBef>
        <a:spcAft>
          <a:spcPts val="1200"/>
        </a:spcAft>
        <a:buClrTx/>
        <a:buSzPct val="100000"/>
        <a:buFont typeface="Calibri" panose="020F0502020204030204" pitchFamily="34" charset="0"/>
        <a:buChar char="▪"/>
        <a:defRPr kumimoji="1" lang="en-US" altLang="ja-JP" sz="1400" baseline="0" noProof="0" dirty="0" smtClean="0">
          <a:solidFill>
            <a:schemeClr val="tx1"/>
          </a:solidFill>
          <a:latin typeface="+mn-lt"/>
          <a:ea typeface="+mn-ea"/>
          <a:cs typeface="MS London"/>
        </a:defRPr>
      </a:lvl4pPr>
      <a:lvl5pPr marL="1165225" indent="-206375" algn="l" defTabSz="1015301" rtl="0" eaLnBrk="1" fontAlgn="base" hangingPunct="1">
        <a:lnSpc>
          <a:spcPct val="85000"/>
        </a:lnSpc>
        <a:spcBef>
          <a:spcPct val="0"/>
        </a:spcBef>
        <a:spcAft>
          <a:spcPts val="1200"/>
        </a:spcAft>
        <a:buClrTx/>
        <a:buSzPct val="100000"/>
        <a:buFont typeface="Arial" charset="0"/>
        <a:buChar char="-"/>
        <a:defRPr kumimoji="1" lang="en-US" altLang="ja-JP" sz="1400" baseline="0" noProof="0" dirty="0">
          <a:solidFill>
            <a:schemeClr val="tx1"/>
          </a:solidFill>
          <a:latin typeface="+mn-lt"/>
          <a:ea typeface="+mn-ea"/>
          <a:cs typeface="MS London"/>
        </a:defRPr>
      </a:lvl5pPr>
      <a:lvl6pPr marL="850261" indent="-147615" algn="l" defTabSz="10153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867">
          <a:solidFill>
            <a:schemeClr val="tx1"/>
          </a:solidFill>
          <a:latin typeface="+mn-lt"/>
          <a:ea typeface="MS PGothic" pitchFamily="34" charset="-128"/>
        </a:defRPr>
      </a:lvl6pPr>
      <a:lvl7pPr marL="850261" indent="-147615" algn="l" defTabSz="10153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867">
          <a:solidFill>
            <a:schemeClr val="tx1"/>
          </a:solidFill>
          <a:latin typeface="+mn-lt"/>
          <a:ea typeface="MS PGothic" pitchFamily="34" charset="-128"/>
        </a:defRPr>
      </a:lvl7pPr>
      <a:lvl8pPr marL="850261" indent="-147615" algn="l" defTabSz="10153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867">
          <a:solidFill>
            <a:schemeClr val="tx1"/>
          </a:solidFill>
          <a:latin typeface="+mn-lt"/>
          <a:ea typeface="MS PGothic" pitchFamily="34" charset="-128"/>
        </a:defRPr>
      </a:lvl8pPr>
      <a:lvl9pPr marL="850261" indent="-147615" algn="l" defTabSz="10153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867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8452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03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5356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3807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2259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0712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29163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47615" algn="l" defTabSz="1036903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20">
          <p15:clr>
            <a:srgbClr val="F26B43"/>
          </p15:clr>
        </p15:guide>
        <p15:guide id="2" orient="horz" pos="912">
          <p15:clr>
            <a:srgbClr val="F26B43"/>
          </p15:clr>
        </p15:guide>
        <p15:guide id="4" pos="6912">
          <p15:clr>
            <a:srgbClr val="F26B43"/>
          </p15:clr>
        </p15:guide>
        <p15:guide id="5" pos="1056">
          <p15:clr>
            <a:srgbClr val="F26B43"/>
          </p15:clr>
        </p15:guide>
        <p15:guide id="6" pos="824">
          <p15:clr>
            <a:srgbClr val="F26B43"/>
          </p15:clr>
        </p15:guide>
        <p15:guide id="7" pos="347">
          <p15:clr>
            <a:srgbClr val="F26B43"/>
          </p15:clr>
        </p15:guide>
        <p15:guide id="8" pos="4747">
          <p15:clr>
            <a:srgbClr val="F26B43"/>
          </p15:clr>
        </p15:guide>
        <p15:guide id="9" pos="6380">
          <p15:clr>
            <a:srgbClr val="F26B43"/>
          </p15:clr>
        </p15:guide>
        <p15:guide id="10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MSIPCMContentMarking" descr="{&quot;HashCode&quot;:-15760619,&quot;Placement&quot;:&quot;Footer&quot;,&quot;Top&quot;:519.343,&quot;Left&quot;:448.820251,&quot;SlideWidth&quot;:960,&quot;SlideHeight&quot;:540}"/>
          <p:cNvSpPr txBox="1"/>
          <p:nvPr userDrawn="1"/>
        </p:nvSpPr>
        <p:spPr>
          <a:xfrm>
            <a:off x="5700017" y="6595656"/>
            <a:ext cx="79196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285750" indent="-285750" algn="ctr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000" smtClean="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GB" sz="10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325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8524D5-BA2F-421B-875A-0CAC66BAD7D6}" type="datetime6">
              <a:rPr lang="en-GB" smtClean="0">
                <a:solidFill>
                  <a:prstClr val="black"/>
                </a:solidFill>
              </a:rPr>
              <a:pPr/>
              <a:t>February 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899A84-0A7C-4488-B245-0310F52DBB7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MSIPCMContentMarking" descr="{&quot;HashCode&quot;:-15760619,&quot;Placement&quot;:&quot;Footer&quot;,&quot;Top&quot;:519.343,&quot;Left&quot;:448.820251,&quot;SlideWidth&quot;:960,&quot;SlideHeight&quot;:540}"/>
          <p:cNvSpPr txBox="1"/>
          <p:nvPr userDrawn="1"/>
        </p:nvSpPr>
        <p:spPr>
          <a:xfrm>
            <a:off x="5700017" y="6595656"/>
            <a:ext cx="79196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 smtClean="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GB" sz="10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358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218" y="5637087"/>
            <a:ext cx="1169068" cy="1024506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689811" y="1235242"/>
            <a:ext cx="1060383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689811" y="1505351"/>
            <a:ext cx="9147184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</a:rPr>
              <a:t>Technical – Digital rewards </a:t>
            </a:r>
            <a:r>
              <a:rPr lang="en-GB" sz="2400" dirty="0" smtClean="0">
                <a:solidFill>
                  <a:schemeClr val="bg1"/>
                </a:solidFill>
              </a:rPr>
              <a:t>identification f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chemeClr val="bg1"/>
                </a:solidFill>
              </a:rPr>
              <a:t>System Linking diagram – proposed to-b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chemeClr val="bg1"/>
                </a:solidFill>
              </a:rPr>
              <a:t>As-Is Systems dia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chemeClr val="bg1"/>
                </a:solidFill>
              </a:rPr>
              <a:t>Contact </a:t>
            </a:r>
            <a:r>
              <a:rPr lang="en-GB" sz="2400" dirty="0" smtClean="0">
                <a:solidFill>
                  <a:schemeClr val="bg1"/>
                </a:solidFill>
              </a:rPr>
              <a:t>Centre HL reasons for contact &amp; corresponding actions (As-I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</a:rPr>
              <a:t>Customer Journe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19752" y="457200"/>
            <a:ext cx="82426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 smtClean="0">
                <a:solidFill>
                  <a:schemeClr val="bg1"/>
                </a:solidFill>
              </a:rPr>
              <a:t>Digital Rewards - Contact Centre Servicing</a:t>
            </a:r>
            <a:endParaRPr lang="en-GB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304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768350"/>
            <a:ext cx="12192000" cy="3509652"/>
          </a:xfrm>
          <a:prstGeom prst="rect">
            <a:avLst/>
          </a:prstGeom>
          <a:solidFill>
            <a:schemeClr val="accent1">
              <a:alpha val="1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8" name="Left Brace 17"/>
          <p:cNvSpPr/>
          <p:nvPr/>
        </p:nvSpPr>
        <p:spPr>
          <a:xfrm>
            <a:off x="8983168" y="1702815"/>
            <a:ext cx="782578" cy="2377895"/>
          </a:xfrm>
          <a:prstGeom prst="leftBrace">
            <a:avLst>
              <a:gd name="adj1" fmla="val 14044"/>
              <a:gd name="adj2" fmla="val 2132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518" y="192066"/>
            <a:ext cx="7561492" cy="322845"/>
          </a:xfrm>
        </p:spPr>
        <p:txBody>
          <a:bodyPr/>
          <a:lstStyle/>
          <a:p>
            <a:r>
              <a:rPr lang="en-GB" dirty="0" smtClean="0"/>
              <a:t>As-IS - CUSTOMER Servicing journey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3218293" y="1107214"/>
            <a:ext cx="2248478" cy="2308324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access help via one of the following channel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VR – M&amp;S &gt; IVR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– Ban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nk telephone direc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Webcha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mai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Virtual Assistan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ecure messaging - PIB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Live Cha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obile cha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Post</a:t>
            </a:r>
          </a:p>
        </p:txBody>
      </p:sp>
      <p:sp>
        <p:nvSpPr>
          <p:cNvPr id="8" name="Rectangle 7"/>
          <p:cNvSpPr/>
          <p:nvPr/>
        </p:nvSpPr>
        <p:spPr>
          <a:xfrm>
            <a:off x="282519" y="1107214"/>
            <a:ext cx="1179860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redit Card Customer</a:t>
            </a:r>
          </a:p>
        </p:txBody>
      </p:sp>
      <p:sp>
        <p:nvSpPr>
          <p:cNvPr id="9" name="Rectangle 8"/>
          <p:cNvSpPr/>
          <p:nvPr/>
        </p:nvSpPr>
        <p:spPr>
          <a:xfrm>
            <a:off x="1664350" y="1107214"/>
            <a:ext cx="1409122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requires info/hel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2518" y="4720409"/>
            <a:ext cx="29357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RM &amp; Loyalty system – loyalty/rewards flag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lub Rewards – if they sign up for CR – Product listed on BMM &amp; in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ardpac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&amp; sign up dat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400918" y="1094340"/>
            <a:ext cx="3933788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ignposts :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irect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to website/info/FAQ’s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tc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&amp; if app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nds Swift email/follow up contact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400918" y="1740915"/>
            <a:ext cx="1704982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Looks up Customer file on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HC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&amp;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champ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ardpac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The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Loyalty System 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MM: (SFE) </a:t>
            </a:r>
            <a:endParaRPr kumimoji="0" lang="en-GB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QRM matrix (retail) / Moneybox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619368" y="3389522"/>
            <a:ext cx="2209800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Raises complaint on behalf of Customer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(</a:t>
            </a:r>
            <a:r>
              <a:rPr kumimoji="0" lang="en-GB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hry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668742" y="1111526"/>
            <a:ext cx="1241977" cy="111887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Contact Agent picks up request (if applicable)</a:t>
            </a:r>
          </a:p>
        </p:txBody>
      </p:sp>
      <p:sp>
        <p:nvSpPr>
          <p:cNvPr id="15" name="Left Brace 14"/>
          <p:cNvSpPr/>
          <p:nvPr/>
        </p:nvSpPr>
        <p:spPr>
          <a:xfrm>
            <a:off x="6967869" y="956510"/>
            <a:ext cx="472440" cy="2730345"/>
          </a:xfrm>
          <a:prstGeom prst="leftBrace">
            <a:avLst>
              <a:gd name="adj1" fmla="val 8333"/>
              <a:gd name="adj2" fmla="val 24692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601289" y="1850086"/>
            <a:ext cx="2319918" cy="646331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ompletes action on request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.g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– refund, replacement vouchers (money-off)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tc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597568" y="2622641"/>
            <a:ext cx="2361679" cy="646331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Provides customer with info directly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.g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– personal points balance, expiry dates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tc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619368" y="4674243"/>
            <a:ext cx="20726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All above actions depend on the query at hand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170766" y="4720409"/>
            <a:ext cx="22018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ifferent systems for different Customer reques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onfirmation emails generated following action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332154" y="4726333"/>
            <a:ext cx="25949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nk contact centre deals with all rewards quer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nk owns all above channels except M&amp;S IVR – who pass the caller onto M&amp;S Bank IV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Various processes for the different channel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568839" y="3525373"/>
            <a:ext cx="1441782" cy="55399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pt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ut/Exceptions 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– see Opt Out &amp; Exceptions journey</a:t>
            </a:r>
          </a:p>
        </p:txBody>
      </p:sp>
      <p:cxnSp>
        <p:nvCxnSpPr>
          <p:cNvPr id="26" name="Straight Arrow Connector 25"/>
          <p:cNvCxnSpPr>
            <a:stCxn id="14" idx="2"/>
            <a:endCxn id="24" idx="0"/>
          </p:cNvCxnSpPr>
          <p:nvPr/>
        </p:nvCxnSpPr>
        <p:spPr>
          <a:xfrm flipH="1">
            <a:off x="6289730" y="2230402"/>
            <a:ext cx="1" cy="129497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4458" y="4360706"/>
            <a:ext cx="30090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Bank &amp; Retail Systems and Processe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0" y="830526"/>
            <a:ext cx="30090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Customer Process</a:t>
            </a:r>
          </a:p>
        </p:txBody>
      </p:sp>
    </p:spTree>
    <p:extLst>
      <p:ext uri="{BB962C8B-B14F-4D97-AF65-F5344CB8AC3E}">
        <p14:creationId xmlns:p14="http://schemas.microsoft.com/office/powerpoint/2010/main" val="33067297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336" y="201063"/>
            <a:ext cx="10132122" cy="322845"/>
          </a:xfrm>
        </p:spPr>
        <p:txBody>
          <a:bodyPr/>
          <a:lstStyle/>
          <a:p>
            <a:r>
              <a:rPr lang="en-GB" dirty="0" smtClean="0">
                <a:solidFill>
                  <a:srgbClr val="C00000"/>
                </a:solidFill>
              </a:rPr>
              <a:t>PROPOSED/WIP</a:t>
            </a:r>
            <a:r>
              <a:rPr lang="en-GB" dirty="0" smtClean="0"/>
              <a:t>: To-Be Customer Servicing Journey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0" y="768350"/>
            <a:ext cx="12192000" cy="3509652"/>
          </a:xfrm>
          <a:prstGeom prst="rect">
            <a:avLst/>
          </a:prstGeom>
          <a:solidFill>
            <a:schemeClr val="accent1">
              <a:alpha val="1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5" name="Left Brace 4"/>
          <p:cNvSpPr/>
          <p:nvPr/>
        </p:nvSpPr>
        <p:spPr>
          <a:xfrm>
            <a:off x="8983168" y="1702815"/>
            <a:ext cx="782578" cy="2377895"/>
          </a:xfrm>
          <a:prstGeom prst="leftBrace">
            <a:avLst>
              <a:gd name="adj1" fmla="val 14044"/>
              <a:gd name="adj2" fmla="val 2132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18293" y="1107214"/>
            <a:ext cx="2248478" cy="2308324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accesses help via one of the following channel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IVR – M&amp;S &gt; IVR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– Ban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nk telephone direc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Webcha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mai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Virtual Assistan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ecure messaging - PIB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Live Cha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obile cha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Post</a:t>
            </a:r>
          </a:p>
        </p:txBody>
      </p:sp>
      <p:sp>
        <p:nvSpPr>
          <p:cNvPr id="7" name="Rectangle 6"/>
          <p:cNvSpPr/>
          <p:nvPr/>
        </p:nvSpPr>
        <p:spPr>
          <a:xfrm>
            <a:off x="282519" y="1107214"/>
            <a:ext cx="1179860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redit Card Customer</a:t>
            </a:r>
          </a:p>
        </p:txBody>
      </p:sp>
      <p:sp>
        <p:nvSpPr>
          <p:cNvPr id="8" name="Rectangle 7"/>
          <p:cNvSpPr/>
          <p:nvPr/>
        </p:nvSpPr>
        <p:spPr>
          <a:xfrm>
            <a:off x="1664350" y="1107214"/>
            <a:ext cx="1409122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requires info/hel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82518" y="4720409"/>
            <a:ext cx="29357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RM &amp; Loyalty system – loyalty/rewards flag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lub Rewards – if they sign up for CR – Product listed on BMM &amp; in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ardpac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&amp; sign up da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noProof="0" dirty="0" err="1" smtClean="0">
                <a:solidFill>
                  <a:srgbClr val="C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yWorkspace</a:t>
            </a:r>
            <a:r>
              <a:rPr lang="en-GB" sz="1200" noProof="0" dirty="0" smtClean="0">
                <a:solidFill>
                  <a:srgbClr val="C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updated with Digital Rewards Flag includes : (TBC) – see technical servicing journey</a:t>
            </a: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400918" y="1094340"/>
            <a:ext cx="3933788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ignposts :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irect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to website/info/FAQ’s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tc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&amp; if app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nds Swift email/follow up contact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*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400918" y="1740915"/>
            <a:ext cx="1704982" cy="1754326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Looks up Customer file on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HC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&amp;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champ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ardpac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The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Loyalty System 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MM: (SFE) </a:t>
            </a:r>
            <a:endParaRPr kumimoji="0" lang="en-GB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QRM matrix (retail) / Moneybo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 err="1" smtClean="0">
                <a:solidFill>
                  <a:srgbClr val="C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yWorkspace</a:t>
            </a:r>
            <a:endParaRPr kumimoji="0" lang="en-GB" sz="12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597568" y="3551403"/>
            <a:ext cx="2209800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Raises complaint on behalf of Customer 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(</a:t>
            </a:r>
            <a:r>
              <a:rPr kumimoji="0" lang="en-GB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hrys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)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**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668742" y="1111526"/>
            <a:ext cx="1241977" cy="111887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Contact Agent picks up request (if applicable)</a:t>
            </a:r>
          </a:p>
        </p:txBody>
      </p:sp>
      <p:sp>
        <p:nvSpPr>
          <p:cNvPr id="14" name="Left Brace 13"/>
          <p:cNvSpPr/>
          <p:nvPr/>
        </p:nvSpPr>
        <p:spPr>
          <a:xfrm>
            <a:off x="6967869" y="956510"/>
            <a:ext cx="472440" cy="2730345"/>
          </a:xfrm>
          <a:prstGeom prst="leftBrace">
            <a:avLst>
              <a:gd name="adj1" fmla="val 8333"/>
              <a:gd name="adj2" fmla="val 24692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601289" y="1850086"/>
            <a:ext cx="2319918" cy="646331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ompletes action on request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.g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– refund, replacement vouchers (money-off)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tc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597568" y="2622641"/>
            <a:ext cx="2361679" cy="830997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Provides customer with info directly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e.g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– personal points balance, expiry dates,</a:t>
            </a:r>
            <a:r>
              <a:rPr kumimoji="0" lang="en-GB" sz="12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</a:t>
            </a:r>
            <a:r>
              <a:rPr lang="en-GB" sz="1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 on if Digital Rewards </a:t>
            </a:r>
            <a:r>
              <a:rPr lang="en-GB" sz="1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not</a:t>
            </a:r>
            <a:endParaRPr lang="en-GB" sz="1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06402" y="4674243"/>
            <a:ext cx="259498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ifferent systems for different Customer reques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onfirmation emails generated following ac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>
                <a:solidFill>
                  <a:srgbClr val="C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Looks up to see if Customer is Digital Rewards opted in, and can view date , customer details (TBC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* - Digital</a:t>
            </a:r>
            <a:r>
              <a:rPr kumimoji="0" lang="en-GB" sz="1200" b="0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Rewards signposting added where applicab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aseline="0" dirty="0" smtClean="0">
                <a:solidFill>
                  <a:srgbClr val="C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PU – Letter</a:t>
            </a:r>
            <a:r>
              <a:rPr lang="en-GB" sz="1200" dirty="0" smtClean="0">
                <a:solidFill>
                  <a:srgbClr val="C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changes?</a:t>
            </a: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332154" y="4726333"/>
            <a:ext cx="25949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nk contact centre deals with all rewards quer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nk owns all above channels except M&amp;S IVR – who pass the caller onto M&amp;S Bank IV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Various processes for the different channe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>
                <a:solidFill>
                  <a:srgbClr val="C0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igital Rewards info and options added to all channels where applicable</a:t>
            </a: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568839" y="3525373"/>
            <a:ext cx="1441782" cy="55399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pt 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out/Exceptions 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– see Opt Out &amp; Exceptions journey</a:t>
            </a:r>
          </a:p>
        </p:txBody>
      </p:sp>
      <p:cxnSp>
        <p:nvCxnSpPr>
          <p:cNvPr id="21" name="Straight Arrow Connector 20"/>
          <p:cNvCxnSpPr>
            <a:stCxn id="13" idx="2"/>
            <a:endCxn id="20" idx="0"/>
          </p:cNvCxnSpPr>
          <p:nvPr/>
        </p:nvCxnSpPr>
        <p:spPr>
          <a:xfrm flipH="1">
            <a:off x="6289730" y="2230402"/>
            <a:ext cx="1" cy="129497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64458" y="4360706"/>
            <a:ext cx="30090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Bank &amp; Retail Systems and Process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0" y="769566"/>
            <a:ext cx="30090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Customer Proces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501382" y="4637705"/>
            <a:ext cx="2562088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C00000"/>
                </a:solidFill>
                <a:latin typeface="MS London"/>
                <a:cs typeface="MS London"/>
              </a:rPr>
              <a:t>** - Digital Rewards available on </a:t>
            </a:r>
            <a:r>
              <a:rPr lang="en-GB" sz="1050" dirty="0" err="1" smtClean="0">
                <a:solidFill>
                  <a:srgbClr val="C00000"/>
                </a:solidFill>
                <a:latin typeface="MS London"/>
                <a:cs typeface="MS London"/>
              </a:rPr>
              <a:t>Chrys</a:t>
            </a:r>
            <a:r>
              <a:rPr lang="en-GB" sz="1050" dirty="0" smtClean="0">
                <a:solidFill>
                  <a:srgbClr val="C00000"/>
                </a:solidFill>
                <a:latin typeface="MS London"/>
                <a:cs typeface="MS London"/>
              </a:rPr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C00000"/>
                </a:solidFill>
                <a:latin typeface="MS London"/>
                <a:cs typeface="MS London"/>
              </a:rPr>
              <a:t>SWIFT – new emails on D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C00000"/>
                </a:solidFill>
                <a:latin typeface="MS London"/>
                <a:cs typeface="MS London"/>
              </a:rPr>
              <a:t>Contact Agent views Customer is DR and can address request appropriately (further deep dive on customer specific requests to be and as is neede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C00000"/>
                </a:solidFill>
                <a:latin typeface="MS London"/>
                <a:cs typeface="MS London"/>
              </a:rPr>
              <a:t>DR - Re-Issuing &amp; Refund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C00000"/>
                </a:solidFill>
                <a:latin typeface="MS London"/>
                <a:cs typeface="MS London"/>
              </a:rPr>
              <a:t>Contact Centre to encourage Customer to Sign up to DR if issues with As-Is Proces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050" dirty="0" smtClean="0">
              <a:solidFill>
                <a:srgbClr val="C00000"/>
              </a:solidFill>
              <a:latin typeface="MS London"/>
              <a:cs typeface="MS London"/>
            </a:endParaRPr>
          </a:p>
          <a:p>
            <a:endParaRPr lang="en-GB" sz="1050" dirty="0" smtClean="0">
              <a:solidFill>
                <a:srgbClr val="C00000"/>
              </a:solidFill>
              <a:latin typeface="MS London"/>
              <a:cs typeface="MS London"/>
            </a:endParaRPr>
          </a:p>
          <a:p>
            <a:endParaRPr lang="en-GB" sz="1050" dirty="0" err="1" smtClean="0">
              <a:solidFill>
                <a:srgbClr val="C00000"/>
              </a:solidFill>
              <a:latin typeface="MS London"/>
              <a:cs typeface="MS London"/>
            </a:endParaRPr>
          </a:p>
        </p:txBody>
      </p:sp>
    </p:spTree>
    <p:extLst>
      <p:ext uri="{BB962C8B-B14F-4D97-AF65-F5344CB8AC3E}">
        <p14:creationId xmlns:p14="http://schemas.microsoft.com/office/powerpoint/2010/main" val="1194237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>
          <a:xfrm>
            <a:off x="0" y="2668707"/>
            <a:ext cx="7834184" cy="42113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0" y="595053"/>
            <a:ext cx="12192000" cy="2077009"/>
          </a:xfrm>
          <a:prstGeom prst="rect">
            <a:avLst/>
          </a:prstGeom>
          <a:solidFill>
            <a:srgbClr val="EEE2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623007" y="1253554"/>
            <a:ext cx="1572852" cy="1267534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Requests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update on vouchers, agent needs to validate whether digitally enabled rewards custom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0447" y="595054"/>
            <a:ext cx="27893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Flow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89186" y="4489761"/>
            <a:ext cx="1265416" cy="97992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New API to call M&amp;S Retail APIS</a:t>
            </a:r>
          </a:p>
        </p:txBody>
      </p:sp>
      <p:sp>
        <p:nvSpPr>
          <p:cNvPr id="6" name="Rectangle 5"/>
          <p:cNvSpPr/>
          <p:nvPr/>
        </p:nvSpPr>
        <p:spPr>
          <a:xfrm>
            <a:off x="6977830" y="4619284"/>
            <a:ext cx="1572852" cy="72654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2B API pattern (tbc)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789140" y="4619284"/>
            <a:ext cx="1844372" cy="726542"/>
          </a:xfrm>
          <a:prstGeom prst="rect">
            <a:avLst/>
          </a:prstGeom>
          <a:solidFill>
            <a:srgbClr val="A6EEC8"/>
          </a:solidFill>
          <a:ln w="12700" cap="flat" cmpd="sng" algn="ctr">
            <a:solidFill>
              <a:schemeClr val="accent1">
                <a:lumMod val="90000"/>
                <a:lumOff val="1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Azure: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nk ID Linking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Returns customer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ata*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753057" y="2933247"/>
            <a:ext cx="1635647" cy="94163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y Workspace (MWS)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creen displaying Linking statu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3069240" y="1502839"/>
            <a:ext cx="553767" cy="0"/>
          </a:xfrm>
          <a:prstGeom prst="straightConnector1">
            <a:avLst/>
          </a:prstGeom>
          <a:ln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282191" y="314653"/>
            <a:ext cx="10132122" cy="322845"/>
          </a:xfrm>
        </p:spPr>
        <p:txBody>
          <a:bodyPr/>
          <a:lstStyle/>
          <a:p>
            <a:r>
              <a:rPr lang="en-GB" dirty="0" smtClean="0"/>
              <a:t>Technical Digital rewards identification solution</a:t>
            </a:r>
            <a:endParaRPr lang="en-GB" dirty="0"/>
          </a:p>
        </p:txBody>
      </p:sp>
      <p:sp>
        <p:nvSpPr>
          <p:cNvPr id="29" name="Rectangle 28"/>
          <p:cNvSpPr/>
          <p:nvPr/>
        </p:nvSpPr>
        <p:spPr>
          <a:xfrm>
            <a:off x="1956806" y="1258527"/>
            <a:ext cx="1288504" cy="5957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(MCH) contacts Contact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entre Agent</a:t>
            </a:r>
          </a:p>
        </p:txBody>
      </p:sp>
      <p:sp>
        <p:nvSpPr>
          <p:cNvPr id="48" name="Rectangle 47"/>
          <p:cNvSpPr/>
          <p:nvPr/>
        </p:nvSpPr>
        <p:spPr>
          <a:xfrm>
            <a:off x="234065" y="5093396"/>
            <a:ext cx="2236424" cy="156411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87745" y="5406356"/>
            <a:ext cx="188680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= Customer Journey No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939190" y="1169224"/>
            <a:ext cx="1519303" cy="122321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Agent has access to info, can support customer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reque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(Read only access Bank Contact </a:t>
            </a:r>
            <a:r>
              <a:rPr lang="en-US" sz="12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entre </a:t>
            </a:r>
            <a:r>
              <a:rPr lang="en-US" sz="12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ide(TBC))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cxnSp>
        <p:nvCxnSpPr>
          <p:cNvPr id="61" name="Elbow Connector 60"/>
          <p:cNvCxnSpPr>
            <a:stCxn id="22" idx="2"/>
            <a:endCxn id="5" idx="0"/>
          </p:cNvCxnSpPr>
          <p:nvPr/>
        </p:nvCxnSpPr>
        <p:spPr>
          <a:xfrm rot="5400000">
            <a:off x="5196310" y="4164177"/>
            <a:ext cx="663868" cy="0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5" idx="3"/>
            <a:endCxn id="6" idx="1"/>
          </p:cNvCxnSpPr>
          <p:nvPr/>
        </p:nvCxnSpPr>
        <p:spPr>
          <a:xfrm>
            <a:off x="6154602" y="4979725"/>
            <a:ext cx="823228" cy="2830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6" idx="3"/>
            <a:endCxn id="8" idx="1"/>
          </p:cNvCxnSpPr>
          <p:nvPr/>
        </p:nvCxnSpPr>
        <p:spPr>
          <a:xfrm>
            <a:off x="8550682" y="4982555"/>
            <a:ext cx="1238458" cy="0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870533" y="2690584"/>
            <a:ext cx="22206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ckend </a:t>
            </a: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Flow - PLC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413199" y="5406356"/>
            <a:ext cx="475188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50875" lvl="2">
              <a:defRPr/>
            </a:pPr>
            <a:r>
              <a:rPr lang="en-GB" sz="1200" dirty="0" smtClean="0">
                <a:solidFill>
                  <a:srgbClr val="C00000"/>
                </a:solidFill>
                <a:cs typeface="MS London"/>
              </a:rPr>
              <a:t>Data passed across:</a:t>
            </a:r>
          </a:p>
          <a:p>
            <a:pPr marL="822325" lvl="2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C00000"/>
                </a:solidFill>
                <a:cs typeface="MS London"/>
              </a:rPr>
              <a:t>Digital </a:t>
            </a:r>
            <a:r>
              <a:rPr lang="en-GB" sz="1200" dirty="0">
                <a:solidFill>
                  <a:srgbClr val="C00000"/>
                </a:solidFill>
                <a:cs typeface="MS London"/>
              </a:rPr>
              <a:t>Rewards </a:t>
            </a:r>
            <a:r>
              <a:rPr lang="en-GB" sz="1200" dirty="0" smtClean="0">
                <a:solidFill>
                  <a:srgbClr val="C00000"/>
                </a:solidFill>
                <a:cs typeface="MS London"/>
              </a:rPr>
              <a:t>Y/N</a:t>
            </a:r>
            <a:endParaRPr lang="en-GB" sz="1200" dirty="0">
              <a:solidFill>
                <a:srgbClr val="C00000"/>
              </a:solidFill>
              <a:cs typeface="MS London"/>
            </a:endParaRPr>
          </a:p>
          <a:p>
            <a:pPr marL="822325" lvl="2" indent="-171450"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C00000"/>
                </a:solidFill>
                <a:cs typeface="MS London"/>
              </a:rPr>
              <a:t>Customer </a:t>
            </a:r>
            <a:r>
              <a:rPr lang="en-GB" sz="1200" dirty="0" smtClean="0">
                <a:solidFill>
                  <a:srgbClr val="C00000"/>
                </a:solidFill>
                <a:cs typeface="MS London"/>
              </a:rPr>
              <a:t>history:</a:t>
            </a:r>
            <a:endParaRPr lang="en-GB" sz="1200" dirty="0">
              <a:solidFill>
                <a:srgbClr val="C00000"/>
              </a:solidFill>
              <a:cs typeface="MS London"/>
            </a:endParaRPr>
          </a:p>
          <a:p>
            <a:pPr marL="1279525" lvl="3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C00000"/>
                </a:solidFill>
                <a:cs typeface="MS London"/>
              </a:rPr>
              <a:t>When </a:t>
            </a:r>
            <a:r>
              <a:rPr lang="en-GB" sz="1200" dirty="0">
                <a:solidFill>
                  <a:srgbClr val="C00000"/>
                </a:solidFill>
                <a:cs typeface="MS London"/>
              </a:rPr>
              <a:t>they opted in (timestamp)</a:t>
            </a:r>
          </a:p>
          <a:p>
            <a:pPr marL="1279525" lvl="3" indent="-171450"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C00000"/>
                </a:solidFill>
                <a:cs typeface="MS London"/>
              </a:rPr>
              <a:t>When they Opted out (timestamp) (having already opted them in</a:t>
            </a:r>
            <a:r>
              <a:rPr lang="en-GB" sz="1200" dirty="0" smtClean="0">
                <a:solidFill>
                  <a:srgbClr val="C00000"/>
                </a:solidFill>
                <a:cs typeface="MS London"/>
              </a:rPr>
              <a:t>)  + back and forth</a:t>
            </a:r>
            <a:endParaRPr lang="en-GB" sz="1200" dirty="0">
              <a:solidFill>
                <a:srgbClr val="C00000"/>
              </a:solidFill>
              <a:cs typeface="MS London"/>
            </a:endParaRPr>
          </a:p>
          <a:p>
            <a:pPr marL="822325" lvl="2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C00000"/>
                </a:solidFill>
                <a:cs typeface="MS London"/>
              </a:rPr>
              <a:t>Sparks Customer Card No ( or at least last 4 digits)</a:t>
            </a:r>
            <a:endParaRPr lang="en-GB" dirty="0"/>
          </a:p>
        </p:txBody>
      </p:sp>
      <p:sp>
        <p:nvSpPr>
          <p:cNvPr id="32" name="Rectangle 31"/>
          <p:cNvSpPr/>
          <p:nvPr/>
        </p:nvSpPr>
        <p:spPr>
          <a:xfrm>
            <a:off x="8269837" y="1390858"/>
            <a:ext cx="1519303" cy="849205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</a:t>
            </a:r>
            <a:r>
              <a:rPr kumimoji="0" lang="en-US" sz="1200" b="1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 wants to Opt out of Digital Reward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5195859" y="1531354"/>
            <a:ext cx="743331" cy="0"/>
          </a:xfrm>
          <a:prstGeom prst="straightConnector1">
            <a:avLst/>
          </a:prstGeom>
          <a:ln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0161678" y="1383906"/>
            <a:ext cx="1519303" cy="849205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elects button to “opt out of digital rewards” on Sparks App/Browser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cxnSp>
        <p:nvCxnSpPr>
          <p:cNvPr id="16" name="Straight Arrow Connector 15"/>
          <p:cNvCxnSpPr>
            <a:stCxn id="37" idx="2"/>
          </p:cNvCxnSpPr>
          <p:nvPr/>
        </p:nvCxnSpPr>
        <p:spPr>
          <a:xfrm flipH="1">
            <a:off x="10921329" y="2233111"/>
            <a:ext cx="1" cy="2401278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32" idx="3"/>
            <a:endCxn id="37" idx="1"/>
          </p:cNvCxnSpPr>
          <p:nvPr/>
        </p:nvCxnSpPr>
        <p:spPr>
          <a:xfrm flipV="1">
            <a:off x="9789140" y="1808509"/>
            <a:ext cx="372538" cy="6952"/>
          </a:xfrm>
          <a:prstGeom prst="straightConnector1">
            <a:avLst/>
          </a:prstGeom>
          <a:ln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190599" y="1270577"/>
            <a:ext cx="1288504" cy="5957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signs up to Digital Reward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cxnSp>
        <p:nvCxnSpPr>
          <p:cNvPr id="24" name="Elbow Connector 23"/>
          <p:cNvCxnSpPr>
            <a:stCxn id="45" idx="2"/>
            <a:endCxn id="5" idx="1"/>
          </p:cNvCxnSpPr>
          <p:nvPr/>
        </p:nvCxnSpPr>
        <p:spPr>
          <a:xfrm rot="16200000" flipH="1">
            <a:off x="1256308" y="1346847"/>
            <a:ext cx="3113448" cy="4152308"/>
          </a:xfrm>
          <a:prstGeom prst="bentConnector2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36349" y="2690584"/>
            <a:ext cx="2220686" cy="338554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ckend </a:t>
            </a: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Flow - Bank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65316" y="1002441"/>
            <a:ext cx="360000" cy="331376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3" name="Oval 52"/>
          <p:cNvSpPr/>
          <p:nvPr/>
        </p:nvSpPr>
        <p:spPr>
          <a:xfrm>
            <a:off x="1782046" y="1025169"/>
            <a:ext cx="360000" cy="331376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2</a:t>
            </a:r>
            <a:endParaRPr lang="en-GB" sz="1400" b="1" dirty="0" smtClean="0">
              <a:solidFill>
                <a:schemeClr val="bg1"/>
              </a:solidFill>
            </a:endParaRPr>
          </a:p>
        </p:txBody>
      </p:sp>
      <p:sp>
        <p:nvSpPr>
          <p:cNvPr id="56" name="Oval 55"/>
          <p:cNvSpPr/>
          <p:nvPr/>
        </p:nvSpPr>
        <p:spPr>
          <a:xfrm>
            <a:off x="8087760" y="1145015"/>
            <a:ext cx="360000" cy="331376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3</a:t>
            </a:r>
            <a:endParaRPr lang="en-GB" sz="1400" b="1" dirty="0" smtClean="0">
              <a:solidFill>
                <a:schemeClr val="bg1"/>
              </a:solidFill>
            </a:endParaRPr>
          </a:p>
        </p:txBody>
      </p:sp>
      <p:cxnSp>
        <p:nvCxnSpPr>
          <p:cNvPr id="40" name="Elbow Connector 39"/>
          <p:cNvCxnSpPr>
            <a:stCxn id="22" idx="0"/>
            <a:endCxn id="59" idx="2"/>
          </p:cNvCxnSpPr>
          <p:nvPr/>
        </p:nvCxnSpPr>
        <p:spPr>
          <a:xfrm rot="5400000" flipH="1" flipV="1">
            <a:off x="5864455" y="2098861"/>
            <a:ext cx="540813" cy="1127961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8571062" y="3229762"/>
            <a:ext cx="24951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50875" lvl="2">
              <a:defRPr/>
            </a:pPr>
            <a:r>
              <a:rPr lang="en-GB" sz="1200" dirty="0" smtClean="0">
                <a:solidFill>
                  <a:srgbClr val="C00000"/>
                </a:solidFill>
                <a:cs typeface="MS London"/>
              </a:rPr>
              <a:t>Exceptions route to Opt Out via contact centre &amp; PLC if “Read Only” access only</a:t>
            </a:r>
            <a:endParaRPr lang="en-GB" dirty="0"/>
          </a:p>
        </p:txBody>
      </p:sp>
      <p:sp>
        <p:nvSpPr>
          <p:cNvPr id="39" name="Oval 38"/>
          <p:cNvSpPr/>
          <p:nvPr/>
        </p:nvSpPr>
        <p:spPr>
          <a:xfrm>
            <a:off x="425316" y="5379577"/>
            <a:ext cx="360000" cy="331376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6230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/>
          <p:cNvSpPr/>
          <p:nvPr/>
        </p:nvSpPr>
        <p:spPr>
          <a:xfrm>
            <a:off x="0" y="2421786"/>
            <a:ext cx="12192000" cy="21331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London"/>
              <a:ea typeface="ＭＳ Ｐゴシック"/>
              <a:cs typeface="+mn-cs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0" y="638810"/>
            <a:ext cx="12192000" cy="1856759"/>
          </a:xfrm>
          <a:prstGeom prst="rect">
            <a:avLst/>
          </a:prstGeom>
          <a:solidFill>
            <a:srgbClr val="EEE2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London"/>
              <a:ea typeface="ＭＳ Ｐゴシック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760029" y="2768389"/>
            <a:ext cx="5241471" cy="3567666"/>
          </a:xfrm>
          <a:prstGeom prst="rect">
            <a:avLst/>
          </a:prstGeom>
          <a:noFill/>
          <a:ln w="952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978" y="230070"/>
            <a:ext cx="10132122" cy="322845"/>
          </a:xfrm>
        </p:spPr>
        <p:txBody>
          <a:bodyPr/>
          <a:lstStyle/>
          <a:p>
            <a:r>
              <a:rPr lang="en-GB" dirty="0" smtClean="0"/>
              <a:t>E2E technical HL process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1673601" y="968192"/>
            <a:ext cx="1398560" cy="1092102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Open Banking: Verification &amp; Customer </a:t>
            </a: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enters</a:t>
            </a:r>
            <a:r>
              <a:rPr kumimoji="0" lang="en-US" sz="120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 Bank </a:t>
            </a: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details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ＭＳ Ｐゴシック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5617" y="968192"/>
            <a:ext cx="1181065" cy="1254147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Customer accesses Sparks App/Browser</a:t>
            </a:r>
            <a:r>
              <a:rPr kumimoji="0" lang="en-US" sz="1200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 </a:t>
            </a: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&amp; </a:t>
            </a: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completes verification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ＭＳ Ｐゴシック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35989" y="968192"/>
            <a:ext cx="1398560" cy="1092102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Confirmation of Linking Success (real-time)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ＭＳ Ｐゴシック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901351" y="968023"/>
            <a:ext cx="1398560" cy="1092102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kern="0" dirty="0">
                <a:solidFill>
                  <a:prstClr val="white"/>
                </a:solidFill>
                <a:latin typeface="Calibri" panose="020F0502020204030204"/>
                <a:ea typeface="ＭＳ Ｐゴシック"/>
              </a:rPr>
              <a:t>Digital Rewards available in </a:t>
            </a:r>
            <a:r>
              <a:rPr lang="en-US" sz="1200" kern="0" dirty="0" smtClean="0">
                <a:solidFill>
                  <a:prstClr val="white"/>
                </a:solidFill>
                <a:latin typeface="Calibri" panose="020F0502020204030204"/>
                <a:ea typeface="ＭＳ Ｐゴシック"/>
              </a:rPr>
              <a:t>real-time </a:t>
            </a:r>
            <a:r>
              <a:rPr lang="en-US" sz="1200" kern="0" dirty="0">
                <a:solidFill>
                  <a:prstClr val="white"/>
                </a:solidFill>
                <a:latin typeface="Calibri" panose="020F0502020204030204"/>
                <a:ea typeface="ＭＳ Ｐゴシック"/>
              </a:rPr>
              <a:t>in Sparks App/Browser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204357" y="4917912"/>
            <a:ext cx="1388765" cy="979928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002A1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Open Banking (rail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Authenticates &amp; Links accoun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78399" y="5047335"/>
            <a:ext cx="1572852" cy="72654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002A1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Account number / CIN shared across to Sparks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ＭＳ Ｐゴシック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94272" y="2985829"/>
            <a:ext cx="2741108" cy="846374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accent1">
                <a:lumMod val="90000"/>
                <a:lumOff val="1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Digital ID request created, Linking Cloud Service – links digital ID to bank accou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Updated in LPA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ＭＳ Ｐゴシック"/>
              <a:cs typeface="+mn-cs"/>
            </a:endParaRPr>
          </a:p>
        </p:txBody>
      </p:sp>
      <p:cxnSp>
        <p:nvCxnSpPr>
          <p:cNvPr id="15" name="Elbow Connector 14"/>
          <p:cNvCxnSpPr>
            <a:stCxn id="12" idx="3"/>
            <a:endCxn id="13" idx="1"/>
          </p:cNvCxnSpPr>
          <p:nvPr/>
        </p:nvCxnSpPr>
        <p:spPr>
          <a:xfrm>
            <a:off x="3593122" y="5407876"/>
            <a:ext cx="685277" cy="2730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7482297" y="5243953"/>
            <a:ext cx="1265416" cy="97992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New API to call M&amp;S Retail API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305429" y="4149798"/>
            <a:ext cx="1572852" cy="72654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2B API pattern (tbc)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048843" y="3055643"/>
            <a:ext cx="1844372" cy="726542"/>
          </a:xfrm>
          <a:prstGeom prst="rect">
            <a:avLst/>
          </a:prstGeom>
          <a:solidFill>
            <a:srgbClr val="A6EEC8"/>
          </a:solidFill>
          <a:ln w="12700" cap="flat" cmpd="sng" algn="ctr">
            <a:solidFill>
              <a:schemeClr val="accent1">
                <a:lumMod val="90000"/>
                <a:lumOff val="1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Azure: </a:t>
            </a:r>
            <a:r>
              <a: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nk ID Linking 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Returns customer </a:t>
            </a:r>
            <a:r>
              <a: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data*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845408" y="5243953"/>
            <a:ext cx="1635647" cy="94163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My Workspace (MWS)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screen displaying Linking statu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cxnSp>
        <p:nvCxnSpPr>
          <p:cNvPr id="23" name="Elbow Connector 22"/>
          <p:cNvCxnSpPr>
            <a:stCxn id="22" idx="1"/>
            <a:endCxn id="19" idx="3"/>
          </p:cNvCxnSpPr>
          <p:nvPr/>
        </p:nvCxnSpPr>
        <p:spPr>
          <a:xfrm rot="10800000" flipV="1">
            <a:off x="8747714" y="5733915"/>
            <a:ext cx="1097695" cy="0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20" idx="0"/>
            <a:endCxn id="21" idx="2"/>
          </p:cNvCxnSpPr>
          <p:nvPr/>
        </p:nvCxnSpPr>
        <p:spPr>
          <a:xfrm rot="16200000" flipV="1">
            <a:off x="7787223" y="3965992"/>
            <a:ext cx="367613" cy="0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20" idx="2"/>
            <a:endCxn id="19" idx="0"/>
          </p:cNvCxnSpPr>
          <p:nvPr/>
        </p:nvCxnSpPr>
        <p:spPr>
          <a:xfrm rot="16200000" flipH="1">
            <a:off x="7908049" y="5060146"/>
            <a:ext cx="367613" cy="0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8644654" y="993353"/>
            <a:ext cx="1398560" cy="1092102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kern="0" dirty="0" smtClean="0">
                <a:solidFill>
                  <a:prstClr val="white"/>
                </a:solidFill>
                <a:latin typeface="Calibri" panose="020F0502020204030204"/>
                <a:ea typeface="ＭＳ Ｐゴシック"/>
              </a:rPr>
              <a:t>Customer Calls up  Contact Centre with Query / Issue</a:t>
            </a:r>
            <a:endParaRPr lang="en-US" sz="1200" kern="0" dirty="0">
              <a:solidFill>
                <a:prstClr val="white"/>
              </a:solidFill>
              <a:latin typeface="Calibri" panose="020F0502020204030204"/>
              <a:ea typeface="ＭＳ Ｐゴシック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0424857" y="993353"/>
            <a:ext cx="1398560" cy="1092102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kern="0" dirty="0">
                <a:solidFill>
                  <a:prstClr val="white"/>
                </a:solidFill>
                <a:latin typeface="Calibri" panose="020F0502020204030204"/>
                <a:ea typeface="ＭＳ Ｐゴシック"/>
              </a:rPr>
              <a:t>Contact Centre can view my workspace screens and required data</a:t>
            </a:r>
          </a:p>
        </p:txBody>
      </p:sp>
      <p:cxnSp>
        <p:nvCxnSpPr>
          <p:cNvPr id="52" name="Elbow Connector 51"/>
          <p:cNvCxnSpPr>
            <a:endCxn id="13" idx="0"/>
          </p:cNvCxnSpPr>
          <p:nvPr/>
        </p:nvCxnSpPr>
        <p:spPr>
          <a:xfrm rot="5400000">
            <a:off x="4457260" y="4439768"/>
            <a:ext cx="1215133" cy="1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21" idx="1"/>
          </p:cNvCxnSpPr>
          <p:nvPr/>
        </p:nvCxnSpPr>
        <p:spPr>
          <a:xfrm rot="10800000">
            <a:off x="6384603" y="3418914"/>
            <a:ext cx="664240" cy="0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8" name="Elbow Connector 57"/>
          <p:cNvCxnSpPr>
            <a:endCxn id="51" idx="2"/>
          </p:cNvCxnSpPr>
          <p:nvPr/>
        </p:nvCxnSpPr>
        <p:spPr>
          <a:xfrm rot="5400000" flipH="1" flipV="1">
            <a:off x="9542262" y="3662078"/>
            <a:ext cx="3158498" cy="5252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stCxn id="5" idx="3"/>
            <a:endCxn id="4" idx="1"/>
          </p:cNvCxnSpPr>
          <p:nvPr/>
        </p:nvCxnSpPr>
        <p:spPr>
          <a:xfrm flipV="1">
            <a:off x="1316682" y="1514243"/>
            <a:ext cx="356919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>
            <a:stCxn id="4" idx="3"/>
            <a:endCxn id="7" idx="1"/>
          </p:cNvCxnSpPr>
          <p:nvPr/>
        </p:nvCxnSpPr>
        <p:spPr>
          <a:xfrm>
            <a:off x="3072161" y="1514243"/>
            <a:ext cx="163828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>
            <a:stCxn id="7" idx="3"/>
            <a:endCxn id="8" idx="1"/>
          </p:cNvCxnSpPr>
          <p:nvPr/>
        </p:nvCxnSpPr>
        <p:spPr>
          <a:xfrm flipV="1">
            <a:off x="4634549" y="1514074"/>
            <a:ext cx="266802" cy="169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0" idx="3"/>
            <a:endCxn id="51" idx="1"/>
          </p:cNvCxnSpPr>
          <p:nvPr/>
        </p:nvCxnSpPr>
        <p:spPr>
          <a:xfrm>
            <a:off x="10043214" y="1539404"/>
            <a:ext cx="381643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/>
          <p:cNvSpPr/>
          <p:nvPr/>
        </p:nvSpPr>
        <p:spPr>
          <a:xfrm>
            <a:off x="8373354" y="2913097"/>
            <a:ext cx="2693728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50875" lvl="2">
              <a:defRPr/>
            </a:pPr>
            <a:r>
              <a:rPr lang="en-GB" sz="900" dirty="0" smtClean="0">
                <a:solidFill>
                  <a:srgbClr val="C00000"/>
                </a:solidFill>
                <a:cs typeface="MS London"/>
              </a:rPr>
              <a:t>Data passed across:</a:t>
            </a:r>
          </a:p>
          <a:p>
            <a:pPr marL="822325" lvl="2" indent="-171450">
              <a:buFont typeface="Arial" panose="020B0604020202020204" pitchFamily="34" charset="0"/>
              <a:buChar char="•"/>
              <a:defRPr/>
            </a:pPr>
            <a:r>
              <a:rPr lang="en-GB" sz="900" dirty="0" smtClean="0">
                <a:solidFill>
                  <a:srgbClr val="C00000"/>
                </a:solidFill>
                <a:cs typeface="MS London"/>
              </a:rPr>
              <a:t>Digital </a:t>
            </a:r>
            <a:r>
              <a:rPr lang="en-GB" sz="900" dirty="0">
                <a:solidFill>
                  <a:srgbClr val="C00000"/>
                </a:solidFill>
                <a:cs typeface="MS London"/>
              </a:rPr>
              <a:t>Rewards </a:t>
            </a:r>
            <a:r>
              <a:rPr lang="en-GB" sz="900" dirty="0" smtClean="0">
                <a:solidFill>
                  <a:srgbClr val="C00000"/>
                </a:solidFill>
                <a:cs typeface="MS London"/>
              </a:rPr>
              <a:t>Y/N</a:t>
            </a:r>
            <a:endParaRPr lang="en-GB" sz="900" dirty="0">
              <a:solidFill>
                <a:srgbClr val="C00000"/>
              </a:solidFill>
              <a:cs typeface="MS London"/>
            </a:endParaRPr>
          </a:p>
          <a:p>
            <a:pPr marL="822325" lvl="2" indent="-171450"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C00000"/>
                </a:solidFill>
                <a:cs typeface="MS London"/>
              </a:rPr>
              <a:t>Customer </a:t>
            </a:r>
            <a:r>
              <a:rPr lang="en-GB" sz="900" dirty="0" smtClean="0">
                <a:solidFill>
                  <a:srgbClr val="C00000"/>
                </a:solidFill>
                <a:cs typeface="MS London"/>
              </a:rPr>
              <a:t>history:</a:t>
            </a:r>
            <a:endParaRPr lang="en-GB" sz="900" dirty="0">
              <a:solidFill>
                <a:srgbClr val="C00000"/>
              </a:solidFill>
              <a:cs typeface="MS London"/>
            </a:endParaRPr>
          </a:p>
          <a:p>
            <a:pPr marL="984250" lvl="3" indent="-171450">
              <a:buFont typeface="Arial" panose="020B0604020202020204" pitchFamily="34" charset="0"/>
              <a:buChar char="•"/>
              <a:defRPr/>
            </a:pPr>
            <a:r>
              <a:rPr lang="en-GB" sz="900" dirty="0" smtClean="0">
                <a:solidFill>
                  <a:srgbClr val="C00000"/>
                </a:solidFill>
                <a:cs typeface="MS London"/>
              </a:rPr>
              <a:t>When </a:t>
            </a:r>
            <a:r>
              <a:rPr lang="en-GB" sz="900" dirty="0">
                <a:solidFill>
                  <a:srgbClr val="C00000"/>
                </a:solidFill>
                <a:cs typeface="MS London"/>
              </a:rPr>
              <a:t>they opted in (timestamp)</a:t>
            </a:r>
          </a:p>
          <a:p>
            <a:pPr marL="984250" lvl="3" indent="-171450">
              <a:buFont typeface="Arial" panose="020B0604020202020204" pitchFamily="34" charset="0"/>
              <a:buChar char="•"/>
              <a:defRPr/>
            </a:pPr>
            <a:r>
              <a:rPr lang="en-GB" sz="900" dirty="0">
                <a:solidFill>
                  <a:srgbClr val="C00000"/>
                </a:solidFill>
                <a:cs typeface="MS London"/>
              </a:rPr>
              <a:t>When they Opted out (timestamp) (having already opted them in</a:t>
            </a:r>
            <a:r>
              <a:rPr lang="en-GB" sz="900" dirty="0" smtClean="0">
                <a:solidFill>
                  <a:srgbClr val="C00000"/>
                </a:solidFill>
                <a:cs typeface="MS London"/>
              </a:rPr>
              <a:t>)  + back and forth</a:t>
            </a:r>
            <a:endParaRPr lang="en-GB" sz="900" dirty="0">
              <a:solidFill>
                <a:srgbClr val="C00000"/>
              </a:solidFill>
              <a:cs typeface="MS London"/>
            </a:endParaRPr>
          </a:p>
          <a:p>
            <a:pPr marL="822325" lvl="2" indent="-171450">
              <a:buFont typeface="Arial" panose="020B0604020202020204" pitchFamily="34" charset="0"/>
              <a:buChar char="•"/>
              <a:defRPr/>
            </a:pPr>
            <a:r>
              <a:rPr lang="en-GB" sz="900" dirty="0" smtClean="0">
                <a:solidFill>
                  <a:srgbClr val="C00000"/>
                </a:solidFill>
                <a:cs typeface="MS London"/>
              </a:rPr>
              <a:t>Sparks Customer Card No ( or at least last 4 digits)</a:t>
            </a:r>
            <a:endParaRPr lang="en-GB" sz="1100" dirty="0"/>
          </a:p>
        </p:txBody>
      </p:sp>
      <p:cxnSp>
        <p:nvCxnSpPr>
          <p:cNvPr id="76" name="Elbow Connector 75"/>
          <p:cNvCxnSpPr/>
          <p:nvPr/>
        </p:nvCxnSpPr>
        <p:spPr>
          <a:xfrm rot="5400000">
            <a:off x="1107223" y="3489240"/>
            <a:ext cx="2857892" cy="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78"/>
          <p:cNvCxnSpPr/>
          <p:nvPr/>
        </p:nvCxnSpPr>
        <p:spPr>
          <a:xfrm rot="5400000" flipH="1" flipV="1">
            <a:off x="3542705" y="2534188"/>
            <a:ext cx="900373" cy="2911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8213080" y="2485629"/>
            <a:ext cx="3356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latin typeface="MS London"/>
                <a:cs typeface="MS London"/>
              </a:rPr>
              <a:t>Digital Identification Flag Solution</a:t>
            </a:r>
            <a:endParaRPr lang="en-GB" sz="1200" b="1" dirty="0" smtClean="0">
              <a:latin typeface="MS London"/>
              <a:cs typeface="MS London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035970" y="2768389"/>
            <a:ext cx="4533559" cy="356766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bg1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089409" y="2507682"/>
            <a:ext cx="23740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>
                <a:latin typeface="MS London"/>
                <a:cs typeface="MS London"/>
              </a:rPr>
              <a:t>Account Linking Solution</a:t>
            </a:r>
            <a:endParaRPr lang="en-GB" sz="1200" b="1" dirty="0" smtClean="0">
              <a:latin typeface="MS London"/>
              <a:cs typeface="MS London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0447" y="627712"/>
            <a:ext cx="27893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ustomer Flow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1972" y="2495158"/>
            <a:ext cx="17144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ckend 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Flow 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- Plc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4089" y="4575173"/>
            <a:ext cx="17230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Backend 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Flow 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- Bank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639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33245" y="871268"/>
            <a:ext cx="2449903" cy="149237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M&amp;S Retail Authenticated Sess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598" y="249288"/>
            <a:ext cx="10132122" cy="322845"/>
          </a:xfrm>
        </p:spPr>
        <p:txBody>
          <a:bodyPr/>
          <a:lstStyle/>
          <a:p>
            <a:r>
              <a:rPr lang="en-GB" dirty="0"/>
              <a:t>SYSTEM LINKING INFO</a:t>
            </a:r>
          </a:p>
        </p:txBody>
      </p:sp>
      <p:sp>
        <p:nvSpPr>
          <p:cNvPr id="4" name="Rectangle 3"/>
          <p:cNvSpPr/>
          <p:nvPr/>
        </p:nvSpPr>
        <p:spPr>
          <a:xfrm>
            <a:off x="1518249" y="1362974"/>
            <a:ext cx="1604513" cy="879894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Open Banking Portal</a:t>
            </a:r>
          </a:p>
        </p:txBody>
      </p:sp>
      <p:sp>
        <p:nvSpPr>
          <p:cNvPr id="6" name="Rectangle 5"/>
          <p:cNvSpPr/>
          <p:nvPr/>
        </p:nvSpPr>
        <p:spPr>
          <a:xfrm>
            <a:off x="541598" y="2734574"/>
            <a:ext cx="10541479" cy="380424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M&amp;S Bank Systems</a:t>
            </a:r>
          </a:p>
        </p:txBody>
      </p:sp>
      <p:sp>
        <p:nvSpPr>
          <p:cNvPr id="7" name="Rectangle 6"/>
          <p:cNvSpPr/>
          <p:nvPr/>
        </p:nvSpPr>
        <p:spPr>
          <a:xfrm>
            <a:off x="1518248" y="3033622"/>
            <a:ext cx="1604513" cy="1115683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OBSS Portal: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Validates TSP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Provides consent token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Generates e2e trust token</a:t>
            </a:r>
          </a:p>
        </p:txBody>
      </p:sp>
      <p:sp>
        <p:nvSpPr>
          <p:cNvPr id="8" name="Rectangle 7"/>
          <p:cNvSpPr/>
          <p:nvPr/>
        </p:nvSpPr>
        <p:spPr>
          <a:xfrm>
            <a:off x="1711984" y="4492562"/>
            <a:ext cx="1217038" cy="92734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AP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Provides customer account data</a:t>
            </a:r>
          </a:p>
        </p:txBody>
      </p:sp>
      <p:sp>
        <p:nvSpPr>
          <p:cNvPr id="9" name="Rectangle 8"/>
          <p:cNvSpPr/>
          <p:nvPr/>
        </p:nvSpPr>
        <p:spPr>
          <a:xfrm>
            <a:off x="3502324" y="4698520"/>
            <a:ext cx="669983" cy="34937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CDU</a:t>
            </a:r>
          </a:p>
        </p:txBody>
      </p:sp>
      <p:sp>
        <p:nvSpPr>
          <p:cNvPr id="10" name="Rectangle 9"/>
          <p:cNvSpPr/>
          <p:nvPr/>
        </p:nvSpPr>
        <p:spPr>
          <a:xfrm>
            <a:off x="3502323" y="5195976"/>
            <a:ext cx="669983" cy="34937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OHC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70046" y="4100422"/>
            <a:ext cx="905774" cy="34937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DSP/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Forgerock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S London"/>
              <a:ea typeface="ＭＳ Ｐゴシック"/>
              <a:cs typeface="+mn-cs"/>
            </a:endParaRPr>
          </a:p>
        </p:txBody>
      </p:sp>
      <p:cxnSp>
        <p:nvCxnSpPr>
          <p:cNvPr id="13" name="Elbow Connector 12"/>
          <p:cNvCxnSpPr>
            <a:stCxn id="4" idx="2"/>
            <a:endCxn id="7" idx="0"/>
          </p:cNvCxnSpPr>
          <p:nvPr/>
        </p:nvCxnSpPr>
        <p:spPr>
          <a:xfrm rot="5400000">
            <a:off x="1925129" y="2638245"/>
            <a:ext cx="790754" cy="1"/>
          </a:xfrm>
          <a:prstGeom prst="bentConnector3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7" idx="2"/>
          </p:cNvCxnSpPr>
          <p:nvPr/>
        </p:nvCxnSpPr>
        <p:spPr>
          <a:xfrm rot="5400000">
            <a:off x="2150133" y="4319675"/>
            <a:ext cx="340743" cy="2"/>
          </a:xfrm>
          <a:prstGeom prst="bentConnector3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>
            <a:stCxn id="7" idx="3"/>
            <a:endCxn id="11" idx="0"/>
          </p:cNvCxnSpPr>
          <p:nvPr/>
        </p:nvCxnSpPr>
        <p:spPr>
          <a:xfrm>
            <a:off x="3122761" y="3591464"/>
            <a:ext cx="700172" cy="508958"/>
          </a:xfrm>
          <a:prstGeom prst="bentConnector2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/>
          <p:nvPr/>
        </p:nvCxnSpPr>
        <p:spPr>
          <a:xfrm flipV="1">
            <a:off x="2929022" y="4156133"/>
            <a:ext cx="441024" cy="416585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8" idx="3"/>
            <a:endCxn id="9" idx="1"/>
          </p:cNvCxnSpPr>
          <p:nvPr/>
        </p:nvCxnSpPr>
        <p:spPr>
          <a:xfrm flipV="1">
            <a:off x="2929022" y="4873205"/>
            <a:ext cx="573302" cy="83027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8" idx="3"/>
            <a:endCxn id="10" idx="1"/>
          </p:cNvCxnSpPr>
          <p:nvPr/>
        </p:nvCxnSpPr>
        <p:spPr>
          <a:xfrm>
            <a:off x="2929022" y="4956232"/>
            <a:ext cx="573301" cy="414429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3640347" y="738276"/>
            <a:ext cx="8097329" cy="17015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M&amp;S Retail System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557228" y="1059611"/>
            <a:ext cx="1604513" cy="1115683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Azure Linking Service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905722" y="2462154"/>
            <a:ext cx="97621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MS London"/>
              </a:rPr>
              <a:t>Returns Card Account Number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>
            <a:off x="3183148" y="2074658"/>
            <a:ext cx="437408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6886754" y="4304219"/>
            <a:ext cx="1604513" cy="1115683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My Workspace: Digital Linking pag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9530952" y="1434457"/>
            <a:ext cx="1142768" cy="343619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API: Exposes linked data</a:t>
            </a:r>
          </a:p>
        </p:txBody>
      </p:sp>
      <p:sp>
        <p:nvSpPr>
          <p:cNvPr id="45" name="Vertical Scroll 44"/>
          <p:cNvSpPr/>
          <p:nvPr/>
        </p:nvSpPr>
        <p:spPr>
          <a:xfrm>
            <a:off x="3822933" y="1175355"/>
            <a:ext cx="777818" cy="718465"/>
          </a:xfrm>
          <a:prstGeom prst="verticalScroll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OB Certs</a:t>
            </a:r>
          </a:p>
        </p:txBody>
      </p:sp>
      <p:cxnSp>
        <p:nvCxnSpPr>
          <p:cNvPr id="47" name="Straight Arrow Connector 46"/>
          <p:cNvCxnSpPr>
            <a:stCxn id="45" idx="1"/>
          </p:cNvCxnSpPr>
          <p:nvPr/>
        </p:nvCxnSpPr>
        <p:spPr>
          <a:xfrm flipH="1">
            <a:off x="3108380" y="1534588"/>
            <a:ext cx="804361" cy="15613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9493817" y="4602997"/>
            <a:ext cx="1217038" cy="683465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AP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Retrieve Rewards Data</a:t>
            </a:r>
          </a:p>
        </p:txBody>
      </p:sp>
      <p:cxnSp>
        <p:nvCxnSpPr>
          <p:cNvPr id="49" name="Elbow Connector 48"/>
          <p:cNvCxnSpPr>
            <a:stCxn id="35" idx="3"/>
            <a:endCxn id="48" idx="1"/>
          </p:cNvCxnSpPr>
          <p:nvPr/>
        </p:nvCxnSpPr>
        <p:spPr>
          <a:xfrm>
            <a:off x="8491267" y="4862061"/>
            <a:ext cx="1002550" cy="82669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8403541" y="3444681"/>
            <a:ext cx="1178002" cy="731446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AD group based entitlement verification</a:t>
            </a:r>
          </a:p>
        </p:txBody>
      </p:sp>
      <p:cxnSp>
        <p:nvCxnSpPr>
          <p:cNvPr id="54" name="Elbow Connector 53"/>
          <p:cNvCxnSpPr>
            <a:stCxn id="53" idx="2"/>
          </p:cNvCxnSpPr>
          <p:nvPr/>
        </p:nvCxnSpPr>
        <p:spPr>
          <a:xfrm rot="16200000" flipH="1">
            <a:off x="9003291" y="4165377"/>
            <a:ext cx="512103" cy="533601"/>
          </a:xfrm>
          <a:prstGeom prst="bentConnector2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/>
          <p:cNvCxnSpPr>
            <a:stCxn id="42" idx="2"/>
            <a:endCxn id="48" idx="0"/>
          </p:cNvCxnSpPr>
          <p:nvPr/>
        </p:nvCxnSpPr>
        <p:spPr>
          <a:xfrm rot="5400000">
            <a:off x="8689876" y="3190536"/>
            <a:ext cx="2824921" cy="12700"/>
          </a:xfrm>
          <a:prstGeom prst="bentConnector3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Vertical Scroll 59"/>
          <p:cNvSpPr/>
          <p:nvPr/>
        </p:nvSpPr>
        <p:spPr>
          <a:xfrm>
            <a:off x="9719778" y="2173940"/>
            <a:ext cx="777818" cy="718465"/>
          </a:xfrm>
          <a:prstGeom prst="verticalScroll">
            <a:avLst/>
          </a:prstGeom>
          <a:solidFill>
            <a:schemeClr val="bg2">
              <a:lumMod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London"/>
                <a:ea typeface="ＭＳ Ｐゴシック"/>
                <a:cs typeface="+mn-cs"/>
              </a:rPr>
              <a:t>B2B based security policy (tbc)</a:t>
            </a:r>
          </a:p>
        </p:txBody>
      </p:sp>
    </p:spTree>
    <p:extLst>
      <p:ext uri="{BB962C8B-B14F-4D97-AF65-F5344CB8AC3E}">
        <p14:creationId xmlns:p14="http://schemas.microsoft.com/office/powerpoint/2010/main" val="599709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5398" y="268266"/>
            <a:ext cx="10132122" cy="322845"/>
          </a:xfrm>
        </p:spPr>
        <p:txBody>
          <a:bodyPr>
            <a:normAutofit fontScale="90000"/>
          </a:bodyPr>
          <a:lstStyle/>
          <a:p>
            <a:r>
              <a:rPr lang="en-GB" dirty="0"/>
              <a:t>System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515" y="429688"/>
            <a:ext cx="8427104" cy="6019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5672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547810" y="1908262"/>
            <a:ext cx="14091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N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on-received voucher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86265" y="1908262"/>
            <a:ext cx="207946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xpired vouch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less on Rewards(18 months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901993" y="2752514"/>
            <a:ext cx="152381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-using Voucher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73826" y="1908262"/>
            <a:ext cx="189819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n’s my next set of vouchers coming through?</a:t>
            </a:r>
          </a:p>
        </p:txBody>
      </p:sp>
      <p:sp>
        <p:nvSpPr>
          <p:cNvPr id="6" name="Rectangle 5"/>
          <p:cNvSpPr/>
          <p:nvPr/>
        </p:nvSpPr>
        <p:spPr>
          <a:xfrm>
            <a:off x="4873826" y="2781113"/>
            <a:ext cx="18030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elay on Vouchers 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58252" y="1908262"/>
            <a:ext cx="158838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Less than £2 – smaller spends , so don’t receive voucher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565105" y="1908262"/>
            <a:ext cx="12591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Missed “Sales” due to delay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965730" y="1908262"/>
            <a:ext cx="11979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st Vouche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3934" y="1499041"/>
            <a:ext cx="1074258" cy="715089"/>
          </a:xfrm>
          <a:prstGeom prst="round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Reasons for Contac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023" y="3762332"/>
            <a:ext cx="1192291" cy="664012"/>
          </a:xfrm>
          <a:prstGeom prst="round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Centre Actions &amp; Systems used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543785" y="5494339"/>
            <a:ext cx="21879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ustomers may receive additional loyalty point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050929" y="4516988"/>
            <a:ext cx="259466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placement Vouchers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wards ( money-off) Can re-issue monetary &gt; next QRM or send a swift with the info on(voucher no, expiry date &amp; value, customer can use instore or online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nus Offers  - cant replace &gt; good will points adjust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0608" y="4640259"/>
            <a:ext cx="1494137" cy="170816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nel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VR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GB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chat – M&amp;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tual Assista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e messaging - PIB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ve Ch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ch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933593" y="3877428"/>
            <a:ext cx="18609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rovide FAQ’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int to web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ach link on explanation &gt; Swift email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481541" y="3825004"/>
            <a:ext cx="260524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gister complai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- Customer calls up &gt; raises dissatisfa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 on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rys</a:t>
            </a: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olve it at 1</a:t>
            </a:r>
            <a:r>
              <a:rPr kumimoji="0" lang="en-GB" sz="12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int&gt; send generic letter to custom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y 3 &gt; escalati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901993" y="3825004"/>
            <a:ext cx="244913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LPA feed into data &gt; The Loyalty Syst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onfirm and relay info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how many points into vouchers &amp; dat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use of vouchers,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dd &amp; remove points and cancel monetary vouchers. + Bonus points allocation.</a:t>
            </a:r>
          </a:p>
        </p:txBody>
      </p:sp>
      <p:sp>
        <p:nvSpPr>
          <p:cNvPr id="22" name="Pentagon 21"/>
          <p:cNvSpPr/>
          <p:nvPr/>
        </p:nvSpPr>
        <p:spPr>
          <a:xfrm>
            <a:off x="126625" y="2651550"/>
            <a:ext cx="1741648" cy="707886"/>
          </a:xfrm>
          <a:prstGeom prst="homePlate">
            <a:avLst/>
          </a:prstGeom>
          <a:ln w="635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ard opening vouchers &amp; Current Offers and Acquisitions incentives (revolving)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59787" y="553619"/>
            <a:ext cx="28655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83F1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ucher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283F1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77796" y="150723"/>
            <a:ext cx="7461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Centre Reasons for Contact &amp; Following  Actions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999791" y="3877428"/>
            <a:ext cx="26969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alendar for QRM , Mop ups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303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13095" y="1592032"/>
            <a:ext cx="993812" cy="715089"/>
          </a:xfrm>
          <a:prstGeom prst="round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Reasons for Contac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6625" y="3725897"/>
            <a:ext cx="1192291" cy="664012"/>
          </a:xfrm>
          <a:prstGeom prst="round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Centre Actions &amp; Systems used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82402" y="1792990"/>
            <a:ext cx="153426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hecking point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balance and calling to confirm bonus points not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ceived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967285" y="1792990"/>
            <a:ext cx="184986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oints balance querie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an view online, on receipt from purchases, and on QRM mailing) </a:t>
            </a:r>
            <a:endParaRPr kumimoji="0" lang="en-GB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974876" y="1792990"/>
            <a:ext cx="14091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xplanation on Points to Vouchers conversion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400249" y="1792990"/>
            <a:ext cx="14091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Taking points off Customers  &gt; Mailing going out – gap in tim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258831" y="1792990"/>
            <a:ext cx="12666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ings against points &amp; allocation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50630" y="506263"/>
            <a:ext cx="28753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int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9512543" y="3933466"/>
            <a:ext cx="24550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ustomers may receive additional loyalty point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9745758" y="4697998"/>
            <a:ext cx="244624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placement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nus Offers  - cant replace &gt; good will points adjust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940843" y="3933466"/>
            <a:ext cx="18932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rovide FAQ’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int to web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ach link on explanation &gt; Swift email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373964" y="3933466"/>
            <a:ext cx="213857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gister complai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- Customer calls up &gt; raises dissatisfa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 on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rys</a:t>
            </a: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olve it at 1</a:t>
            </a:r>
            <a:r>
              <a:rPr kumimoji="0" lang="en-GB" sz="12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int&gt; send generic letter to custom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y 3 &gt; escalat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936773" y="5113497"/>
            <a:ext cx="17617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ointing customers to Points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balance ( Receipts, QRM mailing, online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936773" y="5964791"/>
            <a:ext cx="18973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alendar for QRM , Mop ups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966539" y="3933466"/>
            <a:ext cx="340742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LPA feed into data &gt; The Loyalty Syste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oints balance in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altime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how many points into vouchers &amp; dat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what customer has bought on their card that relate to loyalty – broken down by purchase &amp; where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xpiry dat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dd &amp; remove points and cancel monetary vouchers. + Bonus points alloc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OHC &amp; </a:t>
            </a:r>
            <a:r>
              <a:rPr kumimoji="0" lang="en-GB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champs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: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redit card servicing, credit card spends not just M&amp;S spends &gt; transactions, cancel cards, activate cards, what “Offer” they are on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77796" y="150723"/>
            <a:ext cx="7461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Centre Reasons for Contact &amp; Following  Actions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00608" y="4698315"/>
            <a:ext cx="1494137" cy="170816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nel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VR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GB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chat – M&amp;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tual Assista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e messaging - PIB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ve Ch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ch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Pentagon 30"/>
          <p:cNvSpPr/>
          <p:nvPr/>
        </p:nvSpPr>
        <p:spPr>
          <a:xfrm>
            <a:off x="126625" y="2709606"/>
            <a:ext cx="1741648" cy="707886"/>
          </a:xfrm>
          <a:prstGeom prst="homePlate">
            <a:avLst/>
          </a:prstGeom>
          <a:ln w="635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ard opening vouchers &amp; Current Offers and Acquisitions incentives (revolving)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9782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982389" y="1906032"/>
            <a:ext cx="221517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 Queries of programme –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re can I earn points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aint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137989" y="1906032"/>
            <a:ext cx="21363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ode not working online – M&amp;S team try to resolve , if not handover to Bank.</a:t>
            </a:r>
          </a:p>
        </p:txBody>
      </p:sp>
      <p:sp>
        <p:nvSpPr>
          <p:cNvPr id="4" name="Rectangle 3"/>
          <p:cNvSpPr/>
          <p:nvPr/>
        </p:nvSpPr>
        <p:spPr>
          <a:xfrm>
            <a:off x="1801571" y="1966432"/>
            <a:ext cx="182441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turning items &gt; returning points/offer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875610" y="1906032"/>
            <a:ext cx="170624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dress Issues (posting to wrong/old address) – 60 day wait tim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3095" y="1432375"/>
            <a:ext cx="901457" cy="911364"/>
          </a:xfrm>
          <a:prstGeom prst="round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Reasons for Contac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992" y="3725227"/>
            <a:ext cx="1192291" cy="664012"/>
          </a:xfrm>
          <a:prstGeom prst="roundRect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Centre Actions &amp; Systems used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07464" y="3789395"/>
            <a:ext cx="16566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PU  - Letters sent ou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63037" y="3789395"/>
            <a:ext cx="211609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placement Vouchers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wards ( money-off) Can re-issue monetary &gt; next QRM or send a swift with the info on(voucher no, expiry date &amp; value, customer can use instore or online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nus Offers  - cant replace &gt; good will points adjust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906421" y="3789395"/>
            <a:ext cx="197377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rovide FAQ’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int to web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ach link on explanation &gt; Swift email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697478" y="3789395"/>
            <a:ext cx="228614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gister complai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- Customer calls up &gt; raises dissatisfa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 on </a:t>
            </a:r>
            <a:r>
              <a:rPr kumimoji="0" lang="en-GB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rys</a:t>
            </a: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olve it at 1</a:t>
            </a:r>
            <a:r>
              <a:rPr kumimoji="0" lang="en-GB" sz="12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int&gt; send generic letter to custom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y 3 &gt; escalat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10280" y="3792819"/>
            <a:ext cx="16671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 – Loyalty System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Opt out if going overseas (address based)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Closure of Credit Card accou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c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891868" y="4485316"/>
            <a:ext cx="166731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OHC &amp; </a:t>
            </a:r>
            <a:r>
              <a:rPr kumimoji="0" lang="en-GB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champs</a:t>
            </a: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: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redit card servicing, credit card spends not just M&amp;S spends &gt; transactions, cancel cards, activate cards, what “Offer” they are on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803288" y="2009929"/>
            <a:ext cx="19966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 Ou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137990" y="2705096"/>
            <a:ext cx="197909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Instore &gt; contact Ban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If voucher doesn’t wor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ignposting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77796" y="150723"/>
            <a:ext cx="74613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Centre Reasons for Contact &amp; Following  Actions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0630" y="506263"/>
            <a:ext cx="28753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/Complaint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00609" y="4698315"/>
            <a:ext cx="1424428" cy="170816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nel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VR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GB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chat – M&amp;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tual Assistan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e messaging - PIB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ve Ch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ch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Pentagon 30"/>
          <p:cNvSpPr/>
          <p:nvPr/>
        </p:nvSpPr>
        <p:spPr>
          <a:xfrm>
            <a:off x="126625" y="2709606"/>
            <a:ext cx="1741648" cy="707886"/>
          </a:xfrm>
          <a:prstGeom prst="homePlate">
            <a:avLst/>
          </a:prstGeom>
          <a:ln w="635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ard opening vouchers &amp; Current Offers and Acquisitions incentives (revolving)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664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229343" y="682285"/>
            <a:ext cx="2388426" cy="4786848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nels: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VR – M&amp;S &gt; IVR Bank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chat 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tual Assistant 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e messaging - PIB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ve Chat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chat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2835481" y="3075709"/>
            <a:ext cx="688769" cy="237507"/>
          </a:xfrm>
          <a:prstGeom prst="rightArrow">
            <a:avLst/>
          </a:prstGeom>
          <a:solidFill>
            <a:srgbClr val="003E2F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650054" y="-1010"/>
            <a:ext cx="8435266" cy="6912531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txBody>
          <a:bodyPr wrap="square" t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s</a:t>
            </a:r>
            <a:r>
              <a:rPr kumimoji="0" lang="en-GB" sz="1400" b="1" i="0" u="sng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/or </a:t>
            </a:r>
            <a:r>
              <a:rPr kumimoji="0" lang="en-GB" sz="1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ons taken by Contact Centre Team/Agent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sng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gnposting and direction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FAQs, Point to PWS,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ach link on explanation &gt; Swift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 ( loyalty codes – monetary only),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ointing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ustomers to Points balance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(Receip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, QRM mailing, online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).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per statement that provides inf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aints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gister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omplaints: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</a:t>
            </a:r>
            <a:r>
              <a:rPr kumimoji="0" lang="en-GB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rys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esolv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at 1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int&gt; send generic letter to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, Day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&gt;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cal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MM: (SFE) –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profile, ID&amp;V – primary uses 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LPA feeds data into: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yalty 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: </a:t>
            </a:r>
            <a:r>
              <a:rPr kumimoji="0" lang="en-GB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en Screens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Point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lance in </a:t>
            </a:r>
            <a:r>
              <a:rPr kumimoji="0" lang="en-GB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ltime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dates points used,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 of vouchers, what customer has bought on their card that relate to loyalty – broken down by purchase &amp; where, expiry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es – vouchers &amp; offers.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d &amp; remove points and cancel monetary vouchers. + Bonus points allocation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dpac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en Scre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HC &amp;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hamps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: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ss referencing transactions &gt; Credi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d servicing, credit card spends not just M&amp;S spends &gt; transactions, cancel cards, activate cards, what “Offer” they are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placement 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Voucher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: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wards (money-off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Can re-issue monetary &gt; next QRM or send a swift with the info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(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ucher no, expiry date &amp; value, customer can use instore or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ine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nu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ers  - cant replace &gt; good will points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justment. Additional poi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lacement 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RM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check QRM mailing lists, dates email, QRM matrix – manual</a:t>
            </a:r>
            <a:r>
              <a:rPr kumimoji="0" lang="en-GB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cess</a:t>
            </a:r>
            <a:endParaRPr kumimoji="0" lang="en-GB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4754" y="5662670"/>
            <a:ext cx="2703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Rewards Flag (Y/N)? – editable from Y to N on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e signed up to digi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arks account no/email? </a:t>
            </a:r>
          </a:p>
        </p:txBody>
      </p:sp>
    </p:spTree>
    <p:extLst>
      <p:ext uri="{BB962C8B-B14F-4D97-AF65-F5344CB8AC3E}">
        <p14:creationId xmlns:p14="http://schemas.microsoft.com/office/powerpoint/2010/main" val="275126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b9sBVmSMOAxcPMuKGi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&amp;S Final Results 2020 - FINAL">
  <a:themeElements>
    <a:clrScheme name="M&amp;S - NEW COLOURS 2020">
      <a:dk1>
        <a:srgbClr val="000000"/>
      </a:dk1>
      <a:lt1>
        <a:srgbClr val="FFFFFF"/>
      </a:lt1>
      <a:dk2>
        <a:srgbClr val="40464E"/>
      </a:dk2>
      <a:lt2>
        <a:srgbClr val="E7E9EC"/>
      </a:lt2>
      <a:accent1>
        <a:srgbClr val="00573F"/>
      </a:accent1>
      <a:accent2>
        <a:srgbClr val="A29161"/>
      </a:accent2>
      <a:accent3>
        <a:srgbClr val="007681"/>
      </a:accent3>
      <a:accent4>
        <a:srgbClr val="0A4479"/>
      </a:accent4>
      <a:accent5>
        <a:srgbClr val="9F5351"/>
      </a:accent5>
      <a:accent6>
        <a:srgbClr val="88919F"/>
      </a:accent6>
      <a:hlink>
        <a:srgbClr val="A29161"/>
      </a:hlink>
      <a:folHlink>
        <a:srgbClr val="000000"/>
      </a:folHlink>
    </a:clrScheme>
    <a:fontScheme name="M&amp;S - MS London">
      <a:majorFont>
        <a:latin typeface="MS London"/>
        <a:ea typeface="ＭＳ Ｐゴシック"/>
        <a:cs typeface=""/>
      </a:majorFont>
      <a:minorFont>
        <a:latin typeface="MS London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MS London"/>
            <a:cs typeface="MS London"/>
          </a:defRPr>
        </a:defPPr>
      </a:lstStyle>
    </a:tx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606060"/>
        </a:dk2>
        <a:lt2>
          <a:srgbClr val="FFFFFF"/>
        </a:lt2>
        <a:accent1>
          <a:srgbClr val="DDDDDD"/>
        </a:accent1>
        <a:accent2>
          <a:srgbClr val="909090"/>
        </a:accent2>
        <a:accent3>
          <a:srgbClr val="606060"/>
        </a:accent3>
        <a:accent4>
          <a:srgbClr val="BBCE31"/>
        </a:accent4>
        <a:accent5>
          <a:srgbClr val="839022"/>
        </a:accent5>
        <a:accent6>
          <a:srgbClr val="808080"/>
        </a:accent6>
        <a:hlink>
          <a:srgbClr val="606060"/>
        </a:hlink>
        <a:folHlink>
          <a:srgbClr val="BBCE3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22</TotalTime>
  <Words>2419</Words>
  <Application>Microsoft Office PowerPoint</Application>
  <PresentationFormat>Widescreen</PresentationFormat>
  <Paragraphs>371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7" baseType="lpstr">
      <vt:lpstr>MS PGothic</vt:lpstr>
      <vt:lpstr>MS PGothic</vt:lpstr>
      <vt:lpstr>Arial</vt:lpstr>
      <vt:lpstr>Better Times</vt:lpstr>
      <vt:lpstr>Calibri</vt:lpstr>
      <vt:lpstr>Calibri Light</vt:lpstr>
      <vt:lpstr>MS Leeds Bold</vt:lpstr>
      <vt:lpstr>MS London</vt:lpstr>
      <vt:lpstr>Univers Next for HSBC Light</vt:lpstr>
      <vt:lpstr>Wingdings</vt:lpstr>
      <vt:lpstr>1_Office Theme</vt:lpstr>
      <vt:lpstr>3_M&amp;S Final Results 2020 - FINAL</vt:lpstr>
      <vt:lpstr>Office Theme</vt:lpstr>
      <vt:lpstr>2_Office Theme</vt:lpstr>
      <vt:lpstr>think-cell Folie</vt:lpstr>
      <vt:lpstr>think-cell Slide</vt:lpstr>
      <vt:lpstr>PowerPoint Presentation</vt:lpstr>
      <vt:lpstr>Technical Digital rewards identification solution</vt:lpstr>
      <vt:lpstr>E2E technical HL process</vt:lpstr>
      <vt:lpstr>SYSTEM LINKING INFO</vt:lpstr>
      <vt:lpstr>Systems</vt:lpstr>
      <vt:lpstr>PowerPoint Presentation</vt:lpstr>
      <vt:lpstr>PowerPoint Presentation</vt:lpstr>
      <vt:lpstr>PowerPoint Presentation</vt:lpstr>
      <vt:lpstr>PowerPoint Presentation</vt:lpstr>
      <vt:lpstr>As-IS - CUSTOMER Servicing journey</vt:lpstr>
      <vt:lpstr>PROPOSED/WIP: To-Be Customer Servicing Journey</vt:lpstr>
    </vt:vector>
  </TitlesOfParts>
  <Company>HSB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skia Tamsin Carter ARMITAGE</dc:creator>
  <cp:lastModifiedBy>Saskia Tamsin Carter ARMITAGE</cp:lastModifiedBy>
  <cp:revision>20</cp:revision>
  <dcterms:created xsi:type="dcterms:W3CDTF">2022-01-13T16:13:46Z</dcterms:created>
  <dcterms:modified xsi:type="dcterms:W3CDTF">2022-02-09T08:0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8e637f-7bb7-4040-a22f-4e3924ef3558_Enabled">
    <vt:lpwstr>true</vt:lpwstr>
  </property>
  <property fmtid="{D5CDD505-2E9C-101B-9397-08002B2CF9AE}" pid="3" name="MSIP_Label_0a8e637f-7bb7-4040-a22f-4e3924ef3558_SetDate">
    <vt:lpwstr>2022-02-09T08:02:57Z</vt:lpwstr>
  </property>
  <property fmtid="{D5CDD505-2E9C-101B-9397-08002B2CF9AE}" pid="4" name="MSIP_Label_0a8e637f-7bb7-4040-a22f-4e3924ef3558_Method">
    <vt:lpwstr>Privileged</vt:lpwstr>
  </property>
  <property fmtid="{D5CDD505-2E9C-101B-9397-08002B2CF9AE}" pid="5" name="MSIP_Label_0a8e637f-7bb7-4040-a22f-4e3924ef3558_Name">
    <vt:lpwstr>CLAINTERN</vt:lpwstr>
  </property>
  <property fmtid="{D5CDD505-2E9C-101B-9397-08002B2CF9AE}" pid="6" name="MSIP_Label_0a8e637f-7bb7-4040-a22f-4e3924ef3558_SiteId">
    <vt:lpwstr>e0fd434d-ba64-497b-90d2-859c472e1a92</vt:lpwstr>
  </property>
  <property fmtid="{D5CDD505-2E9C-101B-9397-08002B2CF9AE}" pid="7" name="MSIP_Label_0a8e637f-7bb7-4040-a22f-4e3924ef3558_ActionId">
    <vt:lpwstr>601f4bf1-5c4a-460b-9f61-0a30a12b6765</vt:lpwstr>
  </property>
  <property fmtid="{D5CDD505-2E9C-101B-9397-08002B2CF9AE}" pid="8" name="MSIP_Label_0a8e637f-7bb7-4040-a22f-4e3924ef3558_ContentBits">
    <vt:lpwstr>2</vt:lpwstr>
  </property>
  <property fmtid="{D5CDD505-2E9C-101B-9397-08002B2CF9AE}" pid="9" name="Classification">
    <vt:lpwstr>INTERNAL</vt:lpwstr>
  </property>
</Properties>
</file>